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omments/modernComment_207_3766E251.xml" ContentType="application/vnd.ms-powerpoint.comments+xml"/>
  <Override PartName="/ppt/comments/modernComment_200_49178A48.xml" ContentType="application/vnd.ms-powerpoint.comments+xml"/>
  <Override PartName="/ppt/comments/modernComment_204_BAB46E6E.xml" ContentType="application/vnd.ms-powerpoint.comments+xml"/>
  <Override PartName="/ppt/comments/modernComment_20D_951E9121.xml" ContentType="application/vnd.ms-powerpoint.comment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12F_0.xml" ContentType="application/vnd.ms-powerpoint.comment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1"/>
  </p:notesMasterIdLst>
  <p:sldIdLst>
    <p:sldId id="385" r:id="rId5"/>
    <p:sldId id="467" r:id="rId6"/>
    <p:sldId id="474" r:id="rId7"/>
    <p:sldId id="471" r:id="rId8"/>
    <p:sldId id="469" r:id="rId9"/>
    <p:sldId id="538" r:id="rId10"/>
    <p:sldId id="519" r:id="rId11"/>
    <p:sldId id="512" r:id="rId12"/>
    <p:sldId id="514" r:id="rId13"/>
    <p:sldId id="513" r:id="rId14"/>
    <p:sldId id="516" r:id="rId15"/>
    <p:sldId id="525" r:id="rId16"/>
    <p:sldId id="303" r:id="rId17"/>
    <p:sldId id="539" r:id="rId18"/>
    <p:sldId id="540" r:id="rId19"/>
    <p:sldId id="537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175E6E7-5435-C8AB-FB48-7A82468AB01A}" name="[Est - IMC] Canas Fernandez, Ian Gabriel" initials="[ICFIG" userId="[Est - IMC] Canas Fernandez, Ian Gabriel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E7E8"/>
    <a:srgbClr val="C00000"/>
    <a:srgbClr val="000099"/>
    <a:srgbClr val="3366CC"/>
    <a:srgbClr val="0000CC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EE00A54-60D1-4B57-88ED-F36945FDA22E}" v="15" dt="2023-05-11T20:21:53.0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144" y="1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[Est - IMC] Canas Fernandez, Ian Gabriel" userId="a1ed0de2-49ac-4672-aa49-6f85f1448863" providerId="ADAL" clId="{F99BD8C7-34A6-49E6-942D-1340E2218B49}"/>
    <pc:docChg chg="undo custSel addSld delSld modSld sldOrd">
      <pc:chgData name="[Est - IMC] Canas Fernandez, Ian Gabriel" userId="a1ed0de2-49ac-4672-aa49-6f85f1448863" providerId="ADAL" clId="{F99BD8C7-34A6-49E6-942D-1340E2218B49}" dt="2023-02-07T22:12:04.890" v="118" actId="680"/>
      <pc:docMkLst>
        <pc:docMk/>
      </pc:docMkLst>
      <pc:sldChg chg="modSp mod">
        <pc:chgData name="[Est - IMC] Canas Fernandez, Ian Gabriel" userId="a1ed0de2-49ac-4672-aa49-6f85f1448863" providerId="ADAL" clId="{F99BD8C7-34A6-49E6-942D-1340E2218B49}" dt="2023-02-07T09:11:04.059" v="76" actId="20577"/>
        <pc:sldMkLst>
          <pc:docMk/>
          <pc:sldMk cId="0" sldId="303"/>
        </pc:sldMkLst>
        <pc:spChg chg="mod">
          <ac:chgData name="[Est - IMC] Canas Fernandez, Ian Gabriel" userId="a1ed0de2-49ac-4672-aa49-6f85f1448863" providerId="ADAL" clId="{F99BD8C7-34A6-49E6-942D-1340E2218B49}" dt="2023-02-07T09:11:04.059" v="76" actId="20577"/>
          <ac:spMkLst>
            <pc:docMk/>
            <pc:sldMk cId="0" sldId="303"/>
            <ac:spMk id="109" creationId="{DDD56A56-9F72-48C1-AA6D-DE16381E818A}"/>
          </ac:spMkLst>
        </pc:spChg>
      </pc:sldChg>
      <pc:sldChg chg="mod modShow">
        <pc:chgData name="[Est - IMC] Canas Fernandez, Ian Gabriel" userId="a1ed0de2-49ac-4672-aa49-6f85f1448863" providerId="ADAL" clId="{F99BD8C7-34A6-49E6-942D-1340E2218B49}" dt="2023-02-07T08:52:04.533" v="2" actId="729"/>
        <pc:sldMkLst>
          <pc:docMk/>
          <pc:sldMk cId="2083839657" sldId="483"/>
        </pc:sldMkLst>
      </pc:sldChg>
      <pc:sldChg chg="mod modShow">
        <pc:chgData name="[Est - IMC] Canas Fernandez, Ian Gabriel" userId="a1ed0de2-49ac-4672-aa49-6f85f1448863" providerId="ADAL" clId="{F99BD8C7-34A6-49E6-942D-1340E2218B49}" dt="2023-02-07T08:52:04.533" v="2" actId="729"/>
        <pc:sldMkLst>
          <pc:docMk/>
          <pc:sldMk cId="1116101794" sldId="488"/>
        </pc:sldMkLst>
      </pc:sldChg>
      <pc:sldChg chg="mod modShow">
        <pc:chgData name="[Est - IMC] Canas Fernandez, Ian Gabriel" userId="a1ed0de2-49ac-4672-aa49-6f85f1448863" providerId="ADAL" clId="{F99BD8C7-34A6-49E6-942D-1340E2218B49}" dt="2023-02-07T08:52:04.533" v="2" actId="729"/>
        <pc:sldMkLst>
          <pc:docMk/>
          <pc:sldMk cId="1492797267" sldId="504"/>
        </pc:sldMkLst>
      </pc:sldChg>
      <pc:sldChg chg="mod modShow">
        <pc:chgData name="[Est - IMC] Canas Fernandez, Ian Gabriel" userId="a1ed0de2-49ac-4672-aa49-6f85f1448863" providerId="ADAL" clId="{F99BD8C7-34A6-49E6-942D-1340E2218B49}" dt="2023-02-07T08:52:04.533" v="2" actId="729"/>
        <pc:sldMkLst>
          <pc:docMk/>
          <pc:sldMk cId="2261892563" sldId="505"/>
        </pc:sldMkLst>
      </pc:sldChg>
      <pc:sldChg chg="del">
        <pc:chgData name="[Est - IMC] Canas Fernandez, Ian Gabriel" userId="a1ed0de2-49ac-4672-aa49-6f85f1448863" providerId="ADAL" clId="{F99BD8C7-34A6-49E6-942D-1340E2218B49}" dt="2023-02-07T08:54:36.591" v="31" actId="47"/>
        <pc:sldMkLst>
          <pc:docMk/>
          <pc:sldMk cId="2858868976" sldId="507"/>
        </pc:sldMkLst>
      </pc:sldChg>
      <pc:sldChg chg="mod modShow">
        <pc:chgData name="[Est - IMC] Canas Fernandez, Ian Gabriel" userId="a1ed0de2-49ac-4672-aa49-6f85f1448863" providerId="ADAL" clId="{F99BD8C7-34A6-49E6-942D-1340E2218B49}" dt="2023-02-07T08:52:04.533" v="2" actId="729"/>
        <pc:sldMkLst>
          <pc:docMk/>
          <pc:sldMk cId="2382148797" sldId="508"/>
        </pc:sldMkLst>
      </pc:sldChg>
      <pc:sldChg chg="addSp delSp modSp mod">
        <pc:chgData name="[Est - IMC] Canas Fernandez, Ian Gabriel" userId="a1ed0de2-49ac-4672-aa49-6f85f1448863" providerId="ADAL" clId="{F99BD8C7-34A6-49E6-942D-1340E2218B49}" dt="2023-02-07T21:58:59.641" v="117" actId="1076"/>
        <pc:sldMkLst>
          <pc:docMk/>
          <pc:sldMk cId="3446891795" sldId="513"/>
        </pc:sldMkLst>
        <pc:spChg chg="mod">
          <ac:chgData name="[Est - IMC] Canas Fernandez, Ian Gabriel" userId="a1ed0de2-49ac-4672-aa49-6f85f1448863" providerId="ADAL" clId="{F99BD8C7-34A6-49E6-942D-1340E2218B49}" dt="2023-02-07T21:58:51.014" v="114" actId="1076"/>
          <ac:spMkLst>
            <pc:docMk/>
            <pc:sldMk cId="3446891795" sldId="513"/>
            <ac:spMk id="8" creationId="{E5105F09-F4A5-4007-8794-0CA572CB8B60}"/>
          </ac:spMkLst>
        </pc:spChg>
        <pc:picChg chg="del">
          <ac:chgData name="[Est - IMC] Canas Fernandez, Ian Gabriel" userId="a1ed0de2-49ac-4672-aa49-6f85f1448863" providerId="ADAL" clId="{F99BD8C7-34A6-49E6-942D-1340E2218B49}" dt="2023-02-07T08:53:41.084" v="25" actId="478"/>
          <ac:picMkLst>
            <pc:docMk/>
            <pc:sldMk cId="3446891795" sldId="513"/>
            <ac:picMk id="4" creationId="{4C868EE5-962A-6C2A-8326-7BF979821492}"/>
          </ac:picMkLst>
        </pc:picChg>
        <pc:picChg chg="add mod">
          <ac:chgData name="[Est - IMC] Canas Fernandez, Ian Gabriel" userId="a1ed0de2-49ac-4672-aa49-6f85f1448863" providerId="ADAL" clId="{F99BD8C7-34A6-49E6-942D-1340E2218B49}" dt="2023-02-07T21:58:59.641" v="117" actId="1076"/>
          <ac:picMkLst>
            <pc:docMk/>
            <pc:sldMk cId="3446891795" sldId="513"/>
            <ac:picMk id="4" creationId="{DBE6B38F-5199-D775-D230-7AE89E3D7DDF}"/>
          </ac:picMkLst>
        </pc:picChg>
      </pc:sldChg>
      <pc:sldChg chg="addSp delSp modSp mod modCm">
        <pc:chgData name="[Est - IMC] Canas Fernandez, Ian Gabriel" userId="a1ed0de2-49ac-4672-aa49-6f85f1448863" providerId="ADAL" clId="{F99BD8C7-34A6-49E6-942D-1340E2218B49}" dt="2023-02-07T21:57:45.828" v="109" actId="1076"/>
        <pc:sldMkLst>
          <pc:docMk/>
          <pc:sldMk cId="3132386926" sldId="516"/>
        </pc:sldMkLst>
        <pc:graphicFrameChg chg="add del mod">
          <ac:chgData name="[Est - IMC] Canas Fernandez, Ian Gabriel" userId="a1ed0de2-49ac-4672-aa49-6f85f1448863" providerId="ADAL" clId="{F99BD8C7-34A6-49E6-942D-1340E2218B49}" dt="2023-02-07T21:57:34.092" v="106"/>
          <ac:graphicFrameMkLst>
            <pc:docMk/>
            <pc:sldMk cId="3132386926" sldId="516"/>
            <ac:graphicFrameMk id="4" creationId="{43D1B44D-B8D1-74F6-AAE2-51B90445EA94}"/>
          </ac:graphicFrameMkLst>
        </pc:graphicFrameChg>
        <pc:picChg chg="add mod">
          <ac:chgData name="[Est - IMC] Canas Fernandez, Ian Gabriel" userId="a1ed0de2-49ac-4672-aa49-6f85f1448863" providerId="ADAL" clId="{F99BD8C7-34A6-49E6-942D-1340E2218B49}" dt="2023-02-07T21:57:45.828" v="109" actId="1076"/>
          <ac:picMkLst>
            <pc:docMk/>
            <pc:sldMk cId="3132386926" sldId="516"/>
            <ac:picMk id="8" creationId="{1DD84737-3AEC-8979-415C-A308814935B4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[Est - IMC] Canas Fernandez, Ian Gabriel" userId="a1ed0de2-49ac-4672-aa49-6f85f1448863" providerId="ADAL" clId="{F99BD8C7-34A6-49E6-942D-1340E2218B49}" dt="2023-02-07T21:56:29.111" v="94" actId="2056"/>
              <pc2:cmMkLst xmlns:pc2="http://schemas.microsoft.com/office/powerpoint/2019/9/main/command">
                <pc:docMk/>
                <pc:sldMk cId="3132386926" sldId="516"/>
                <pc2:cmMk id="{1C831FDE-C193-4716-869C-2E616B5B34B0}"/>
              </pc2:cmMkLst>
            </pc226:cmChg>
          </p:ext>
        </pc:extLst>
      </pc:sldChg>
      <pc:sldChg chg="addSp modSp">
        <pc:chgData name="[Est - IMC] Canas Fernandez, Ian Gabriel" userId="a1ed0de2-49ac-4672-aa49-6f85f1448863" providerId="ADAL" clId="{F99BD8C7-34A6-49E6-942D-1340E2218B49}" dt="2023-02-07T21:55:54.986" v="89"/>
        <pc:sldMkLst>
          <pc:docMk/>
          <pc:sldMk cId="929489489" sldId="519"/>
        </pc:sldMkLst>
        <pc:picChg chg="add mod">
          <ac:chgData name="[Est - IMC] Canas Fernandez, Ian Gabriel" userId="a1ed0de2-49ac-4672-aa49-6f85f1448863" providerId="ADAL" clId="{F99BD8C7-34A6-49E6-942D-1340E2218B49}" dt="2023-02-07T21:55:54.986" v="89"/>
          <ac:picMkLst>
            <pc:docMk/>
            <pc:sldMk cId="929489489" sldId="519"/>
            <ac:picMk id="4" creationId="{4FDDC688-A6A0-FF4B-2FEE-5CAEA4E86887}"/>
          </ac:picMkLst>
        </pc:picChg>
      </pc:sldChg>
      <pc:sldChg chg="del">
        <pc:chgData name="[Est - IMC] Canas Fernandez, Ian Gabriel" userId="a1ed0de2-49ac-4672-aa49-6f85f1448863" providerId="ADAL" clId="{F99BD8C7-34A6-49E6-942D-1340E2218B49}" dt="2023-02-07T08:54:49.164" v="34" actId="47"/>
        <pc:sldMkLst>
          <pc:docMk/>
          <pc:sldMk cId="2630937539" sldId="522"/>
        </pc:sldMkLst>
      </pc:sldChg>
      <pc:sldChg chg="del">
        <pc:chgData name="[Est - IMC] Canas Fernandez, Ian Gabriel" userId="a1ed0de2-49ac-4672-aa49-6f85f1448863" providerId="ADAL" clId="{F99BD8C7-34A6-49E6-942D-1340E2218B49}" dt="2023-02-07T08:54:55.424" v="35" actId="47"/>
        <pc:sldMkLst>
          <pc:docMk/>
          <pc:sldMk cId="3432675280" sldId="524"/>
        </pc:sldMkLst>
      </pc:sldChg>
      <pc:sldChg chg="addSp delSp modSp mod">
        <pc:chgData name="[Est - IMC] Canas Fernandez, Ian Gabriel" userId="a1ed0de2-49ac-4672-aa49-6f85f1448863" providerId="ADAL" clId="{F99BD8C7-34A6-49E6-942D-1340E2218B49}" dt="2023-02-07T21:57:02.234" v="104" actId="167"/>
        <pc:sldMkLst>
          <pc:docMk/>
          <pc:sldMk cId="2501808417" sldId="525"/>
        </pc:sldMkLst>
        <pc:graphicFrameChg chg="add del mod">
          <ac:chgData name="[Est - IMC] Canas Fernandez, Ian Gabriel" userId="a1ed0de2-49ac-4672-aa49-6f85f1448863" providerId="ADAL" clId="{F99BD8C7-34A6-49E6-942D-1340E2218B49}" dt="2023-02-07T21:56:08.294" v="92"/>
          <ac:graphicFrameMkLst>
            <pc:docMk/>
            <pc:sldMk cId="2501808417" sldId="525"/>
            <ac:graphicFrameMk id="2" creationId="{30521404-6745-9DCC-7CD4-B06F375943F9}"/>
          </ac:graphicFrameMkLst>
        </pc:graphicFrameChg>
        <pc:graphicFrameChg chg="add del mod">
          <ac:chgData name="[Est - IMC] Canas Fernandez, Ian Gabriel" userId="a1ed0de2-49ac-4672-aa49-6f85f1448863" providerId="ADAL" clId="{F99BD8C7-34A6-49E6-942D-1340E2218B49}" dt="2023-02-07T21:56:51.558" v="100"/>
          <ac:graphicFrameMkLst>
            <pc:docMk/>
            <pc:sldMk cId="2501808417" sldId="525"/>
            <ac:graphicFrameMk id="4" creationId="{E3FD7987-A4D6-6174-7B0D-1D4198D78D27}"/>
          </ac:graphicFrameMkLst>
        </pc:graphicFrameChg>
        <pc:graphicFrameChg chg="add del mod">
          <ac:chgData name="[Est - IMC] Canas Fernandez, Ian Gabriel" userId="a1ed0de2-49ac-4672-aa49-6f85f1448863" providerId="ADAL" clId="{F99BD8C7-34A6-49E6-942D-1340E2218B49}" dt="2023-02-07T21:56:51.558" v="100"/>
          <ac:graphicFrameMkLst>
            <pc:docMk/>
            <pc:sldMk cId="2501808417" sldId="525"/>
            <ac:graphicFrameMk id="7" creationId="{2DBFE4E1-1706-0119-73DF-EA9732EC3518}"/>
          </ac:graphicFrameMkLst>
        </pc:graphicFrameChg>
        <pc:graphicFrameChg chg="add del mod">
          <ac:chgData name="[Est - IMC] Canas Fernandez, Ian Gabriel" userId="a1ed0de2-49ac-4672-aa49-6f85f1448863" providerId="ADAL" clId="{F99BD8C7-34A6-49E6-942D-1340E2218B49}" dt="2023-02-07T21:56:51.558" v="100"/>
          <ac:graphicFrameMkLst>
            <pc:docMk/>
            <pc:sldMk cId="2501808417" sldId="525"/>
            <ac:graphicFrameMk id="8" creationId="{1C4FDD76-9A96-0FA3-09B6-15EC13F03C0B}"/>
          </ac:graphicFrameMkLst>
        </pc:graphicFrameChg>
        <pc:picChg chg="del">
          <ac:chgData name="[Est - IMC] Canas Fernandez, Ian Gabriel" userId="a1ed0de2-49ac-4672-aa49-6f85f1448863" providerId="ADAL" clId="{F99BD8C7-34A6-49E6-942D-1340E2218B49}" dt="2023-02-07T08:53:52.707" v="26" actId="478"/>
          <ac:picMkLst>
            <pc:docMk/>
            <pc:sldMk cId="2501808417" sldId="525"/>
            <ac:picMk id="7" creationId="{1C3A4ED0-E92C-594A-D914-18D94C4C3B4C}"/>
          </ac:picMkLst>
        </pc:picChg>
        <pc:picChg chg="add mod ord">
          <ac:chgData name="[Est - IMC] Canas Fernandez, Ian Gabriel" userId="a1ed0de2-49ac-4672-aa49-6f85f1448863" providerId="ADAL" clId="{F99BD8C7-34A6-49E6-942D-1340E2218B49}" dt="2023-02-07T21:57:02.234" v="104" actId="167"/>
          <ac:picMkLst>
            <pc:docMk/>
            <pc:sldMk cId="2501808417" sldId="525"/>
            <ac:picMk id="9" creationId="{7796F1AF-F93D-6C8B-C4E9-E55CE5797511}"/>
          </ac:picMkLst>
        </pc:picChg>
      </pc:sldChg>
      <pc:sldChg chg="del">
        <pc:chgData name="[Est - IMC] Canas Fernandez, Ian Gabriel" userId="a1ed0de2-49ac-4672-aa49-6f85f1448863" providerId="ADAL" clId="{F99BD8C7-34A6-49E6-942D-1340E2218B49}" dt="2023-02-07T08:54:41.586" v="33" actId="47"/>
        <pc:sldMkLst>
          <pc:docMk/>
          <pc:sldMk cId="3850286986" sldId="527"/>
        </pc:sldMkLst>
      </pc:sldChg>
      <pc:sldChg chg="del">
        <pc:chgData name="[Est - IMC] Canas Fernandez, Ian Gabriel" userId="a1ed0de2-49ac-4672-aa49-6f85f1448863" providerId="ADAL" clId="{F99BD8C7-34A6-49E6-942D-1340E2218B49}" dt="2023-02-07T08:54:39.676" v="32" actId="47"/>
        <pc:sldMkLst>
          <pc:docMk/>
          <pc:sldMk cId="262896035" sldId="528"/>
        </pc:sldMkLst>
      </pc:sldChg>
      <pc:sldChg chg="del">
        <pc:chgData name="[Est - IMC] Canas Fernandez, Ian Gabriel" userId="a1ed0de2-49ac-4672-aa49-6f85f1448863" providerId="ADAL" clId="{F99BD8C7-34A6-49E6-942D-1340E2218B49}" dt="2023-02-07T08:54:29.636" v="29" actId="47"/>
        <pc:sldMkLst>
          <pc:docMk/>
          <pc:sldMk cId="1194193033" sldId="529"/>
        </pc:sldMkLst>
      </pc:sldChg>
      <pc:sldChg chg="del">
        <pc:chgData name="[Est - IMC] Canas Fernandez, Ian Gabriel" userId="a1ed0de2-49ac-4672-aa49-6f85f1448863" providerId="ADAL" clId="{F99BD8C7-34A6-49E6-942D-1340E2218B49}" dt="2023-02-07T08:54:34.215" v="30" actId="47"/>
        <pc:sldMkLst>
          <pc:docMk/>
          <pc:sldMk cId="1607332293" sldId="530"/>
        </pc:sldMkLst>
      </pc:sldChg>
      <pc:sldChg chg="mod modShow">
        <pc:chgData name="[Est - IMC] Canas Fernandez, Ian Gabriel" userId="a1ed0de2-49ac-4672-aa49-6f85f1448863" providerId="ADAL" clId="{F99BD8C7-34A6-49E6-942D-1340E2218B49}" dt="2023-02-07T08:52:04.533" v="2" actId="729"/>
        <pc:sldMkLst>
          <pc:docMk/>
          <pc:sldMk cId="1534781797" sldId="531"/>
        </pc:sldMkLst>
      </pc:sldChg>
      <pc:sldChg chg="mod modShow">
        <pc:chgData name="[Est - IMC] Canas Fernandez, Ian Gabriel" userId="a1ed0de2-49ac-4672-aa49-6f85f1448863" providerId="ADAL" clId="{F99BD8C7-34A6-49E6-942D-1340E2218B49}" dt="2023-02-07T08:52:04.533" v="2" actId="729"/>
        <pc:sldMkLst>
          <pc:docMk/>
          <pc:sldMk cId="4188500101" sldId="532"/>
        </pc:sldMkLst>
      </pc:sldChg>
      <pc:sldChg chg="mod modShow">
        <pc:chgData name="[Est - IMC] Canas Fernandez, Ian Gabriel" userId="a1ed0de2-49ac-4672-aa49-6f85f1448863" providerId="ADAL" clId="{F99BD8C7-34A6-49E6-942D-1340E2218B49}" dt="2023-02-07T08:52:04.533" v="2" actId="729"/>
        <pc:sldMkLst>
          <pc:docMk/>
          <pc:sldMk cId="1688056330" sldId="533"/>
        </pc:sldMkLst>
      </pc:sldChg>
      <pc:sldChg chg="mod modShow">
        <pc:chgData name="[Est - IMC] Canas Fernandez, Ian Gabriel" userId="a1ed0de2-49ac-4672-aa49-6f85f1448863" providerId="ADAL" clId="{F99BD8C7-34A6-49E6-942D-1340E2218B49}" dt="2023-02-07T08:52:04.533" v="2" actId="729"/>
        <pc:sldMkLst>
          <pc:docMk/>
          <pc:sldMk cId="4281791507" sldId="534"/>
        </pc:sldMkLst>
      </pc:sldChg>
      <pc:sldChg chg="mod ord modShow">
        <pc:chgData name="[Est - IMC] Canas Fernandez, Ian Gabriel" userId="a1ed0de2-49ac-4672-aa49-6f85f1448863" providerId="ADAL" clId="{F99BD8C7-34A6-49E6-942D-1340E2218B49}" dt="2023-02-07T08:52:04.533" v="2" actId="729"/>
        <pc:sldMkLst>
          <pc:docMk/>
          <pc:sldMk cId="29980725" sldId="535"/>
        </pc:sldMkLst>
      </pc:sldChg>
      <pc:sldChg chg="modSp add mod">
        <pc:chgData name="[Est - IMC] Canas Fernandez, Ian Gabriel" userId="a1ed0de2-49ac-4672-aa49-6f85f1448863" providerId="ADAL" clId="{F99BD8C7-34A6-49E6-942D-1340E2218B49}" dt="2023-02-07T08:53:02.129" v="24" actId="20577"/>
        <pc:sldMkLst>
          <pc:docMk/>
          <pc:sldMk cId="2118066484" sldId="538"/>
        </pc:sldMkLst>
        <pc:spChg chg="mod">
          <ac:chgData name="[Est - IMC] Canas Fernandez, Ian Gabriel" userId="a1ed0de2-49ac-4672-aa49-6f85f1448863" providerId="ADAL" clId="{F99BD8C7-34A6-49E6-942D-1340E2218B49}" dt="2023-02-07T08:53:02.129" v="24" actId="20577"/>
          <ac:spMkLst>
            <pc:docMk/>
            <pc:sldMk cId="2118066484" sldId="538"/>
            <ac:spMk id="2" creationId="{00000000-0000-0000-0000-000000000000}"/>
          </ac:spMkLst>
        </pc:spChg>
      </pc:sldChg>
      <pc:sldChg chg="addSp delSp modSp new mod">
        <pc:chgData name="[Est - IMC] Canas Fernandez, Ian Gabriel" userId="a1ed0de2-49ac-4672-aa49-6f85f1448863" providerId="ADAL" clId="{F99BD8C7-34A6-49E6-942D-1340E2218B49}" dt="2023-02-07T08:57:39.528" v="73" actId="14100"/>
        <pc:sldMkLst>
          <pc:docMk/>
          <pc:sldMk cId="3445996025" sldId="539"/>
        </pc:sldMkLst>
        <pc:spChg chg="mod">
          <ac:chgData name="[Est - IMC] Canas Fernandez, Ian Gabriel" userId="a1ed0de2-49ac-4672-aa49-6f85f1448863" providerId="ADAL" clId="{F99BD8C7-34A6-49E6-942D-1340E2218B49}" dt="2023-02-07T08:55:05.701" v="57" actId="20577"/>
          <ac:spMkLst>
            <pc:docMk/>
            <pc:sldMk cId="3445996025" sldId="539"/>
            <ac:spMk id="2" creationId="{5F2BCBCB-9CF1-F8F3-DE78-7D1251B2F8D0}"/>
          </ac:spMkLst>
        </pc:spChg>
        <pc:spChg chg="del">
          <ac:chgData name="[Est - IMC] Canas Fernandez, Ian Gabriel" userId="a1ed0de2-49ac-4672-aa49-6f85f1448863" providerId="ADAL" clId="{F99BD8C7-34A6-49E6-942D-1340E2218B49}" dt="2023-02-07T08:55:33.182" v="58" actId="478"/>
          <ac:spMkLst>
            <pc:docMk/>
            <pc:sldMk cId="3445996025" sldId="539"/>
            <ac:spMk id="3" creationId="{FE6C0648-92FC-FDC5-5D29-F2AB22A33313}"/>
          </ac:spMkLst>
        </pc:spChg>
        <pc:spChg chg="add del">
          <ac:chgData name="[Est - IMC] Canas Fernandez, Ian Gabriel" userId="a1ed0de2-49ac-4672-aa49-6f85f1448863" providerId="ADAL" clId="{F99BD8C7-34A6-49E6-942D-1340E2218B49}" dt="2023-02-07T08:55:36.125" v="64"/>
          <ac:spMkLst>
            <pc:docMk/>
            <pc:sldMk cId="3445996025" sldId="539"/>
            <ac:spMk id="5" creationId="{1DF9C892-155A-E4DC-DB53-97F2E21C1197}"/>
          </ac:spMkLst>
        </pc:spChg>
        <pc:picChg chg="add mod ord">
          <ac:chgData name="[Est - IMC] Canas Fernandez, Ian Gabriel" userId="a1ed0de2-49ac-4672-aa49-6f85f1448863" providerId="ADAL" clId="{F99BD8C7-34A6-49E6-942D-1340E2218B49}" dt="2023-02-07T08:57:33.891" v="71" actId="166"/>
          <ac:picMkLst>
            <pc:docMk/>
            <pc:sldMk cId="3445996025" sldId="539"/>
            <ac:picMk id="6" creationId="{96B84A62-0F52-4B37-263E-6C4AADEF1494}"/>
          </ac:picMkLst>
        </pc:picChg>
        <pc:picChg chg="add mod">
          <ac:chgData name="[Est - IMC] Canas Fernandez, Ian Gabriel" userId="a1ed0de2-49ac-4672-aa49-6f85f1448863" providerId="ADAL" clId="{F99BD8C7-34A6-49E6-942D-1340E2218B49}" dt="2023-02-07T08:57:39.528" v="73" actId="14100"/>
          <ac:picMkLst>
            <pc:docMk/>
            <pc:sldMk cId="3445996025" sldId="539"/>
            <ac:picMk id="8" creationId="{882DED8C-8B14-31B2-7248-D1AA16B9B216}"/>
          </ac:picMkLst>
        </pc:picChg>
      </pc:sldChg>
      <pc:sldChg chg="addSp delSp modSp new mod">
        <pc:chgData name="[Est - IMC] Canas Fernandez, Ian Gabriel" userId="a1ed0de2-49ac-4672-aa49-6f85f1448863" providerId="ADAL" clId="{F99BD8C7-34A6-49E6-942D-1340E2218B49}" dt="2023-02-07T21:56:08.702" v="93" actId="21"/>
        <pc:sldMkLst>
          <pc:docMk/>
          <pc:sldMk cId="4151237364" sldId="540"/>
        </pc:sldMkLst>
        <pc:spChg chg="mod">
          <ac:chgData name="[Est - IMC] Canas Fernandez, Ian Gabriel" userId="a1ed0de2-49ac-4672-aa49-6f85f1448863" providerId="ADAL" clId="{F99BD8C7-34A6-49E6-942D-1340E2218B49}" dt="2023-02-07T21:55:06.221" v="85" actId="20577"/>
          <ac:spMkLst>
            <pc:docMk/>
            <pc:sldMk cId="4151237364" sldId="540"/>
            <ac:spMk id="2" creationId="{A8E772E8-2E2B-2EDC-40EF-F97E38686BFB}"/>
          </ac:spMkLst>
        </pc:spChg>
        <pc:spChg chg="del">
          <ac:chgData name="[Est - IMC] Canas Fernandez, Ian Gabriel" userId="a1ed0de2-49ac-4672-aa49-6f85f1448863" providerId="ADAL" clId="{F99BD8C7-34A6-49E6-942D-1340E2218B49}" dt="2023-02-07T21:55:02.278" v="79" actId="478"/>
          <ac:spMkLst>
            <pc:docMk/>
            <pc:sldMk cId="4151237364" sldId="540"/>
            <ac:spMk id="3" creationId="{0458AFC5-E74E-94F4-92C1-D48F47705525}"/>
          </ac:spMkLst>
        </pc:spChg>
        <pc:graphicFrameChg chg="add del mod">
          <ac:chgData name="[Est - IMC] Canas Fernandez, Ian Gabriel" userId="a1ed0de2-49ac-4672-aa49-6f85f1448863" providerId="ADAL" clId="{F99BD8C7-34A6-49E6-942D-1340E2218B49}" dt="2023-02-07T21:56:08.702" v="93" actId="21"/>
          <ac:graphicFrameMkLst>
            <pc:docMk/>
            <pc:sldMk cId="4151237364" sldId="540"/>
            <ac:graphicFrameMk id="5" creationId="{066ED0BD-7D21-D790-DC03-D868239EE685}"/>
          </ac:graphicFrameMkLst>
        </pc:graphicFrameChg>
      </pc:sldChg>
      <pc:sldChg chg="new">
        <pc:chgData name="[Est - IMC] Canas Fernandez, Ian Gabriel" userId="a1ed0de2-49ac-4672-aa49-6f85f1448863" providerId="ADAL" clId="{F99BD8C7-34A6-49E6-942D-1340E2218B49}" dt="2023-02-07T22:12:04.890" v="118" actId="680"/>
        <pc:sldMkLst>
          <pc:docMk/>
          <pc:sldMk cId="2017801224" sldId="542"/>
        </pc:sldMkLst>
      </pc:sldChg>
    </pc:docChg>
  </pc:docChgLst>
  <pc:docChgLst>
    <pc:chgData name="[Est - IMC] Tejeda Iglesias, Samuel Olivier" userId="b73d292e-799f-4e94-a6db-c223d33fa677" providerId="ADAL" clId="{DE4929DA-4F0B-4B59-AF7A-0345F6233F1D}"/>
    <pc:docChg chg="undo custSel addSld delSld modSld">
      <pc:chgData name="[Est - IMC] Tejeda Iglesias, Samuel Olivier" userId="b73d292e-799f-4e94-a6db-c223d33fa677" providerId="ADAL" clId="{DE4929DA-4F0B-4B59-AF7A-0345F6233F1D}" dt="2023-02-07T22:12:31.886" v="140" actId="1076"/>
      <pc:docMkLst>
        <pc:docMk/>
      </pc:docMkLst>
      <pc:sldChg chg="del">
        <pc:chgData name="[Est - IMC] Tejeda Iglesias, Samuel Olivier" userId="b73d292e-799f-4e94-a6db-c223d33fa677" providerId="ADAL" clId="{DE4929DA-4F0B-4B59-AF7A-0345F6233F1D}" dt="2023-02-07T21:55:18.891" v="1" actId="47"/>
        <pc:sldMkLst>
          <pc:docMk/>
          <pc:sldMk cId="57841922" sldId="460"/>
        </pc:sldMkLst>
      </pc:sldChg>
      <pc:sldChg chg="del">
        <pc:chgData name="[Est - IMC] Tejeda Iglesias, Samuel Olivier" userId="b73d292e-799f-4e94-a6db-c223d33fa677" providerId="ADAL" clId="{DE4929DA-4F0B-4B59-AF7A-0345F6233F1D}" dt="2023-02-07T21:55:39.923" v="17" actId="47"/>
        <pc:sldMkLst>
          <pc:docMk/>
          <pc:sldMk cId="2683115544" sldId="468"/>
        </pc:sldMkLst>
      </pc:sldChg>
      <pc:sldChg chg="del">
        <pc:chgData name="[Est - IMC] Tejeda Iglesias, Samuel Olivier" userId="b73d292e-799f-4e94-a6db-c223d33fa677" providerId="ADAL" clId="{DE4929DA-4F0B-4B59-AF7A-0345F6233F1D}" dt="2023-02-07T21:55:31.555" v="16" actId="47"/>
        <pc:sldMkLst>
          <pc:docMk/>
          <pc:sldMk cId="3967343624" sldId="470"/>
        </pc:sldMkLst>
      </pc:sldChg>
      <pc:sldChg chg="del">
        <pc:chgData name="[Est - IMC] Tejeda Iglesias, Samuel Olivier" userId="b73d292e-799f-4e94-a6db-c223d33fa677" providerId="ADAL" clId="{DE4929DA-4F0B-4B59-AF7A-0345F6233F1D}" dt="2023-02-07T21:55:30.889" v="15" actId="47"/>
        <pc:sldMkLst>
          <pc:docMk/>
          <pc:sldMk cId="2083839657" sldId="483"/>
        </pc:sldMkLst>
      </pc:sldChg>
      <pc:sldChg chg="del">
        <pc:chgData name="[Est - IMC] Tejeda Iglesias, Samuel Olivier" userId="b73d292e-799f-4e94-a6db-c223d33fa677" providerId="ADAL" clId="{DE4929DA-4F0B-4B59-AF7A-0345F6233F1D}" dt="2023-02-07T21:55:24.548" v="10" actId="47"/>
        <pc:sldMkLst>
          <pc:docMk/>
          <pc:sldMk cId="1116101794" sldId="488"/>
        </pc:sldMkLst>
      </pc:sldChg>
      <pc:sldChg chg="del">
        <pc:chgData name="[Est - IMC] Tejeda Iglesias, Samuel Olivier" userId="b73d292e-799f-4e94-a6db-c223d33fa677" providerId="ADAL" clId="{DE4929DA-4F0B-4B59-AF7A-0345F6233F1D}" dt="2023-02-07T21:55:21.353" v="4" actId="47"/>
        <pc:sldMkLst>
          <pc:docMk/>
          <pc:sldMk cId="1492797267" sldId="504"/>
        </pc:sldMkLst>
      </pc:sldChg>
      <pc:sldChg chg="del">
        <pc:chgData name="[Est - IMC] Tejeda Iglesias, Samuel Olivier" userId="b73d292e-799f-4e94-a6db-c223d33fa677" providerId="ADAL" clId="{DE4929DA-4F0B-4B59-AF7A-0345F6233F1D}" dt="2023-02-07T21:55:23.483" v="8" actId="47"/>
        <pc:sldMkLst>
          <pc:docMk/>
          <pc:sldMk cId="2261892563" sldId="505"/>
        </pc:sldMkLst>
      </pc:sldChg>
      <pc:sldChg chg="del">
        <pc:chgData name="[Est - IMC] Tejeda Iglesias, Samuel Olivier" userId="b73d292e-799f-4e94-a6db-c223d33fa677" providerId="ADAL" clId="{DE4929DA-4F0B-4B59-AF7A-0345F6233F1D}" dt="2023-02-07T21:55:22.975" v="7" actId="47"/>
        <pc:sldMkLst>
          <pc:docMk/>
          <pc:sldMk cId="2382148797" sldId="508"/>
        </pc:sldMkLst>
      </pc:sldChg>
      <pc:sldChg chg="del">
        <pc:chgData name="[Est - IMC] Tejeda Iglesias, Samuel Olivier" userId="b73d292e-799f-4e94-a6db-c223d33fa677" providerId="ADAL" clId="{DE4929DA-4F0B-4B59-AF7A-0345F6233F1D}" dt="2023-02-07T21:55:18.143" v="0" actId="47"/>
        <pc:sldMkLst>
          <pc:docMk/>
          <pc:sldMk cId="127686856" sldId="511"/>
        </pc:sldMkLst>
      </pc:sldChg>
      <pc:sldChg chg="modSp mod">
        <pc:chgData name="[Est - IMC] Tejeda Iglesias, Samuel Olivier" userId="b73d292e-799f-4e94-a6db-c223d33fa677" providerId="ADAL" clId="{DE4929DA-4F0B-4B59-AF7A-0345F6233F1D}" dt="2023-02-07T22:00:03.819" v="80" actId="20577"/>
        <pc:sldMkLst>
          <pc:docMk/>
          <pc:sldMk cId="1226279496" sldId="512"/>
        </pc:sldMkLst>
        <pc:spChg chg="mod">
          <ac:chgData name="[Est - IMC] Tejeda Iglesias, Samuel Olivier" userId="b73d292e-799f-4e94-a6db-c223d33fa677" providerId="ADAL" clId="{DE4929DA-4F0B-4B59-AF7A-0345F6233F1D}" dt="2023-02-07T22:00:03.819" v="80" actId="20577"/>
          <ac:spMkLst>
            <pc:docMk/>
            <pc:sldMk cId="1226279496" sldId="512"/>
            <ac:spMk id="13" creationId="{209DA0A5-72C7-4631-BA90-5EBEAFE7EE2E}"/>
          </ac:spMkLst>
        </pc:spChg>
      </pc:sldChg>
      <pc:sldChg chg="delSp modSp mod modCm">
        <pc:chgData name="[Est - IMC] Tejeda Iglesias, Samuel Olivier" userId="b73d292e-799f-4e94-a6db-c223d33fa677" providerId="ADAL" clId="{DE4929DA-4F0B-4B59-AF7A-0345F6233F1D}" dt="2023-02-07T21:59:20.178" v="40" actId="1076"/>
        <pc:sldMkLst>
          <pc:docMk/>
          <pc:sldMk cId="3132386926" sldId="516"/>
        </pc:sldMkLst>
        <pc:graphicFrameChg chg="mod">
          <ac:chgData name="[Est - IMC] Tejeda Iglesias, Samuel Olivier" userId="b73d292e-799f-4e94-a6db-c223d33fa677" providerId="ADAL" clId="{DE4929DA-4F0B-4B59-AF7A-0345F6233F1D}" dt="2023-02-07T21:59:20.178" v="40" actId="1076"/>
          <ac:graphicFrameMkLst>
            <pc:docMk/>
            <pc:sldMk cId="3132386926" sldId="516"/>
            <ac:graphicFrameMk id="9" creationId="{B0E599B4-5A19-C2D6-B27B-76AD37C0DD1B}"/>
          </ac:graphicFrameMkLst>
        </pc:graphicFrameChg>
        <pc:picChg chg="del">
          <ac:chgData name="[Est - IMC] Tejeda Iglesias, Samuel Olivier" userId="b73d292e-799f-4e94-a6db-c223d33fa677" providerId="ADAL" clId="{DE4929DA-4F0B-4B59-AF7A-0345F6233F1D}" dt="2023-02-07T21:56:29.113" v="21" actId="478"/>
          <ac:picMkLst>
            <pc:docMk/>
            <pc:sldMk cId="3132386926" sldId="516"/>
            <ac:picMk id="2" creationId="{60572262-E797-5543-2A01-F8186941F7A4}"/>
          </ac:picMkLst>
        </pc:picChg>
        <pc:picChg chg="del">
          <ac:chgData name="[Est - IMC] Tejeda Iglesias, Samuel Olivier" userId="b73d292e-799f-4e94-a6db-c223d33fa677" providerId="ADAL" clId="{DE4929DA-4F0B-4B59-AF7A-0345F6233F1D}" dt="2023-02-07T21:56:28.516" v="19" actId="478"/>
          <ac:picMkLst>
            <pc:docMk/>
            <pc:sldMk cId="3132386926" sldId="516"/>
            <ac:picMk id="7" creationId="{EC19ADCD-F8B8-5D43-C8D9-7351FB0016E3}"/>
          </ac:picMkLst>
        </pc:picChg>
        <pc:picChg chg="del mod">
          <ac:chgData name="[Est - IMC] Tejeda Iglesias, Samuel Olivier" userId="b73d292e-799f-4e94-a6db-c223d33fa677" providerId="ADAL" clId="{DE4929DA-4F0B-4B59-AF7A-0345F6233F1D}" dt="2023-02-07T21:58:50.469" v="38" actId="478"/>
          <ac:picMkLst>
            <pc:docMk/>
            <pc:sldMk cId="3132386926" sldId="516"/>
            <ac:picMk id="8" creationId="{1DD84737-3AEC-8979-415C-A308814935B4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[Est - IMC] Tejeda Iglesias, Samuel Olivier" userId="b73d292e-799f-4e94-a6db-c223d33fa677" providerId="ADAL" clId="{DE4929DA-4F0B-4B59-AF7A-0345F6233F1D}" dt="2023-02-07T21:56:28.519" v="20" actId="2056"/>
              <pc2:cmMkLst xmlns:pc2="http://schemas.microsoft.com/office/powerpoint/2019/9/main/command">
                <pc:docMk/>
                <pc:sldMk cId="3132386926" sldId="516"/>
                <pc2:cmMk id="{1C831FDE-C193-4716-869C-2E616B5B34B0}"/>
              </pc2:cmMkLst>
            </pc226:cmChg>
          </p:ext>
        </pc:extLst>
      </pc:sldChg>
      <pc:sldChg chg="del">
        <pc:chgData name="[Est - IMC] Tejeda Iglesias, Samuel Olivier" userId="b73d292e-799f-4e94-a6db-c223d33fa677" providerId="ADAL" clId="{DE4929DA-4F0B-4B59-AF7A-0345F6233F1D}" dt="2023-02-07T21:55:47.701" v="18" actId="47"/>
        <pc:sldMkLst>
          <pc:docMk/>
          <pc:sldMk cId="2228789392" sldId="517"/>
        </pc:sldMkLst>
      </pc:sldChg>
      <pc:sldChg chg="addSp delSp modSp add del mod">
        <pc:chgData name="[Est - IMC] Tejeda Iglesias, Samuel Olivier" userId="b73d292e-799f-4e94-a6db-c223d33fa677" providerId="ADAL" clId="{DE4929DA-4F0B-4B59-AF7A-0345F6233F1D}" dt="2023-02-07T22:12:31.886" v="140" actId="1076"/>
        <pc:sldMkLst>
          <pc:docMk/>
          <pc:sldMk cId="929489489" sldId="519"/>
        </pc:sldMkLst>
        <pc:spChg chg="mod">
          <ac:chgData name="[Est - IMC] Tejeda Iglesias, Samuel Olivier" userId="b73d292e-799f-4e94-a6db-c223d33fa677" providerId="ADAL" clId="{DE4929DA-4F0B-4B59-AF7A-0345F6233F1D}" dt="2023-02-07T22:00:28.327" v="109" actId="20577"/>
          <ac:spMkLst>
            <pc:docMk/>
            <pc:sldMk cId="929489489" sldId="519"/>
            <ac:spMk id="9" creationId="{BA3117D1-89ED-BDAB-14ED-E04582437B47}"/>
          </ac:spMkLst>
        </pc:spChg>
        <pc:picChg chg="del">
          <ac:chgData name="[Est - IMC] Tejeda Iglesias, Samuel Olivier" userId="b73d292e-799f-4e94-a6db-c223d33fa677" providerId="ADAL" clId="{DE4929DA-4F0B-4B59-AF7A-0345F6233F1D}" dt="2023-02-07T22:07:45.772" v="137" actId="478"/>
          <ac:picMkLst>
            <pc:docMk/>
            <pc:sldMk cId="929489489" sldId="519"/>
            <ac:picMk id="4" creationId="{4FDDC688-A6A0-FF4B-2FEE-5CAEA4E86887}"/>
          </ac:picMkLst>
        </pc:picChg>
        <pc:picChg chg="add mod">
          <ac:chgData name="[Est - IMC] Tejeda Iglesias, Samuel Olivier" userId="b73d292e-799f-4e94-a6db-c223d33fa677" providerId="ADAL" clId="{DE4929DA-4F0B-4B59-AF7A-0345F6233F1D}" dt="2023-02-07T22:12:31.886" v="140" actId="1076"/>
          <ac:picMkLst>
            <pc:docMk/>
            <pc:sldMk cId="929489489" sldId="519"/>
            <ac:picMk id="8" creationId="{6D6CBE0B-E601-58BF-96F2-2FA0EB85AF9B}"/>
          </ac:picMkLst>
        </pc:picChg>
      </pc:sldChg>
      <pc:sldChg chg="delSp modSp mod">
        <pc:chgData name="[Est - IMC] Tejeda Iglesias, Samuel Olivier" userId="b73d292e-799f-4e94-a6db-c223d33fa677" providerId="ADAL" clId="{DE4929DA-4F0B-4B59-AF7A-0345F6233F1D}" dt="2023-02-07T21:58:34.853" v="36"/>
        <pc:sldMkLst>
          <pc:docMk/>
          <pc:sldMk cId="2501808417" sldId="525"/>
        </pc:sldMkLst>
        <pc:graphicFrameChg chg="mod">
          <ac:chgData name="[Est - IMC] Tejeda Iglesias, Samuel Olivier" userId="b73d292e-799f-4e94-a6db-c223d33fa677" providerId="ADAL" clId="{DE4929DA-4F0B-4B59-AF7A-0345F6233F1D}" dt="2023-02-07T21:58:34.853" v="36"/>
          <ac:graphicFrameMkLst>
            <pc:docMk/>
            <pc:sldMk cId="2501808417" sldId="525"/>
            <ac:graphicFrameMk id="10" creationId="{3FB96686-311D-0F05-E886-EDB465F23B11}"/>
          </ac:graphicFrameMkLst>
        </pc:graphicFrameChg>
        <pc:picChg chg="del">
          <ac:chgData name="[Est - IMC] Tejeda Iglesias, Samuel Olivier" userId="b73d292e-799f-4e94-a6db-c223d33fa677" providerId="ADAL" clId="{DE4929DA-4F0B-4B59-AF7A-0345F6233F1D}" dt="2023-02-07T21:57:47.874" v="23" actId="478"/>
          <ac:picMkLst>
            <pc:docMk/>
            <pc:sldMk cId="2501808417" sldId="525"/>
            <ac:picMk id="9" creationId="{7796F1AF-F93D-6C8B-C4E9-E55CE5797511}"/>
          </ac:picMkLst>
        </pc:picChg>
      </pc:sldChg>
      <pc:sldChg chg="del">
        <pc:chgData name="[Est - IMC] Tejeda Iglesias, Samuel Olivier" userId="b73d292e-799f-4e94-a6db-c223d33fa677" providerId="ADAL" clId="{DE4929DA-4F0B-4B59-AF7A-0345F6233F1D}" dt="2023-02-07T21:55:23.995" v="9" actId="47"/>
        <pc:sldMkLst>
          <pc:docMk/>
          <pc:sldMk cId="1534781797" sldId="531"/>
        </pc:sldMkLst>
      </pc:sldChg>
      <pc:sldChg chg="del">
        <pc:chgData name="[Est - IMC] Tejeda Iglesias, Samuel Olivier" userId="b73d292e-799f-4e94-a6db-c223d33fa677" providerId="ADAL" clId="{DE4929DA-4F0B-4B59-AF7A-0345F6233F1D}" dt="2023-02-07T21:55:22.419" v="6" actId="47"/>
        <pc:sldMkLst>
          <pc:docMk/>
          <pc:sldMk cId="4188500101" sldId="532"/>
        </pc:sldMkLst>
      </pc:sldChg>
      <pc:sldChg chg="del">
        <pc:chgData name="[Est - IMC] Tejeda Iglesias, Samuel Olivier" userId="b73d292e-799f-4e94-a6db-c223d33fa677" providerId="ADAL" clId="{DE4929DA-4F0B-4B59-AF7A-0345F6233F1D}" dt="2023-02-07T21:55:21.880" v="5" actId="47"/>
        <pc:sldMkLst>
          <pc:docMk/>
          <pc:sldMk cId="1688056330" sldId="533"/>
        </pc:sldMkLst>
      </pc:sldChg>
      <pc:sldChg chg="del">
        <pc:chgData name="[Est - IMC] Tejeda Iglesias, Samuel Olivier" userId="b73d292e-799f-4e94-a6db-c223d33fa677" providerId="ADAL" clId="{DE4929DA-4F0B-4B59-AF7A-0345F6233F1D}" dt="2023-02-07T21:55:20.788" v="3" actId="47"/>
        <pc:sldMkLst>
          <pc:docMk/>
          <pc:sldMk cId="4281791507" sldId="534"/>
        </pc:sldMkLst>
      </pc:sldChg>
      <pc:sldChg chg="del">
        <pc:chgData name="[Est - IMC] Tejeda Iglesias, Samuel Olivier" userId="b73d292e-799f-4e94-a6db-c223d33fa677" providerId="ADAL" clId="{DE4929DA-4F0B-4B59-AF7A-0345F6233F1D}" dt="2023-02-07T21:55:20.075" v="2" actId="47"/>
        <pc:sldMkLst>
          <pc:docMk/>
          <pc:sldMk cId="29980725" sldId="535"/>
        </pc:sldMkLst>
      </pc:sldChg>
      <pc:sldChg chg="add del mod modShow">
        <pc:chgData name="[Est - IMC] Tejeda Iglesias, Samuel Olivier" userId="b73d292e-799f-4e94-a6db-c223d33fa677" providerId="ADAL" clId="{DE4929DA-4F0B-4B59-AF7A-0345F6233F1D}" dt="2023-02-07T22:07:24.117" v="136" actId="729"/>
        <pc:sldMkLst>
          <pc:docMk/>
          <pc:sldMk cId="2118066484" sldId="538"/>
        </pc:sldMkLst>
      </pc:sldChg>
      <pc:sldChg chg="addSp delSp modSp add mod modAnim">
        <pc:chgData name="[Est - IMC] Tejeda Iglesias, Samuel Olivier" userId="b73d292e-799f-4e94-a6db-c223d33fa677" providerId="ADAL" clId="{DE4929DA-4F0B-4B59-AF7A-0345F6233F1D}" dt="2023-02-07T22:06:26.793" v="135"/>
        <pc:sldMkLst>
          <pc:docMk/>
          <pc:sldMk cId="100542289" sldId="541"/>
        </pc:sldMkLst>
        <pc:picChg chg="add mod">
          <ac:chgData name="[Est - IMC] Tejeda Iglesias, Samuel Olivier" userId="b73d292e-799f-4e94-a6db-c223d33fa677" providerId="ADAL" clId="{DE4929DA-4F0B-4B59-AF7A-0345F6233F1D}" dt="2023-02-07T22:03:32.732" v="117" actId="1076"/>
          <ac:picMkLst>
            <pc:docMk/>
            <pc:sldMk cId="100542289" sldId="541"/>
            <ac:picMk id="3" creationId="{1A72D2A3-F223-5AA7-0FCB-A7929DDA8503}"/>
          </ac:picMkLst>
        </pc:picChg>
        <pc:picChg chg="add mod">
          <ac:chgData name="[Est - IMC] Tejeda Iglesias, Samuel Olivier" userId="b73d292e-799f-4e94-a6db-c223d33fa677" providerId="ADAL" clId="{DE4929DA-4F0B-4B59-AF7A-0345F6233F1D}" dt="2023-02-07T22:05:49.436" v="127" actId="1076"/>
          <ac:picMkLst>
            <pc:docMk/>
            <pc:sldMk cId="100542289" sldId="541"/>
            <ac:picMk id="5" creationId="{FED2CEBC-4657-D3E4-DC69-E92988650B58}"/>
          </ac:picMkLst>
        </pc:picChg>
        <pc:picChg chg="del">
          <ac:chgData name="[Est - IMC] Tejeda Iglesias, Samuel Olivier" userId="b73d292e-799f-4e94-a6db-c223d33fa677" providerId="ADAL" clId="{DE4929DA-4F0B-4B59-AF7A-0345F6233F1D}" dt="2023-02-07T22:02:57.003" v="112" actId="478"/>
          <ac:picMkLst>
            <pc:docMk/>
            <pc:sldMk cId="100542289" sldId="541"/>
            <ac:picMk id="6" creationId="{96B84A62-0F52-4B37-263E-6C4AADEF1494}"/>
          </ac:picMkLst>
        </pc:picChg>
        <pc:picChg chg="del">
          <ac:chgData name="[Est - IMC] Tejeda Iglesias, Samuel Olivier" userId="b73d292e-799f-4e94-a6db-c223d33fa677" providerId="ADAL" clId="{DE4929DA-4F0B-4B59-AF7A-0345F6233F1D}" dt="2023-02-07T22:02:56.505" v="111" actId="478"/>
          <ac:picMkLst>
            <pc:docMk/>
            <pc:sldMk cId="100542289" sldId="541"/>
            <ac:picMk id="8" creationId="{882DED8C-8B14-31B2-7248-D1AA16B9B216}"/>
          </ac:picMkLst>
        </pc:picChg>
        <pc:picChg chg="add del mod modCrop">
          <ac:chgData name="[Est - IMC] Tejeda Iglesias, Samuel Olivier" userId="b73d292e-799f-4e94-a6db-c223d33fa677" providerId="ADAL" clId="{DE4929DA-4F0B-4B59-AF7A-0345F6233F1D}" dt="2023-02-07T22:06:00.220" v="133" actId="732"/>
          <ac:picMkLst>
            <pc:docMk/>
            <pc:sldMk cId="100542289" sldId="541"/>
            <ac:picMk id="9" creationId="{430BED92-975C-CA53-EA22-621867D19902}"/>
          </ac:picMkLst>
        </pc:picChg>
      </pc:sldChg>
    </pc:docChg>
  </pc:docChgLst>
  <pc:docChgLst>
    <pc:chgData name="[Est - IMC] Canas Fernandez, Ian Gabriel" userId="a1ed0de2-49ac-4672-aa49-6f85f1448863" providerId="ADAL" clId="{7700A521-DC63-44E8-979F-90D016388E80}"/>
    <pc:docChg chg="undo redo custSel addSld delSld modSld sldOrd">
      <pc:chgData name="[Est - IMC] Canas Fernandez, Ian Gabriel" userId="a1ed0de2-49ac-4672-aa49-6f85f1448863" providerId="ADAL" clId="{7700A521-DC63-44E8-979F-90D016388E80}" dt="2022-11-08T21:29:12.396" v="365" actId="2056"/>
      <pc:docMkLst>
        <pc:docMk/>
      </pc:docMkLst>
      <pc:sldChg chg="addCm modCm">
        <pc:chgData name="[Est - IMC] Canas Fernandez, Ian Gabriel" userId="a1ed0de2-49ac-4672-aa49-6f85f1448863" providerId="ADAL" clId="{7700A521-DC63-44E8-979F-90D016388E80}" dt="2022-11-08T09:56:45.858" v="360"/>
        <pc:sldMkLst>
          <pc:docMk/>
          <pc:sldMk cId="0" sldId="303"/>
        </pc:sldMkLst>
      </pc:sldChg>
      <pc:sldChg chg="addSp delSp modSp mod">
        <pc:chgData name="[Est - IMC] Canas Fernandez, Ian Gabriel" userId="a1ed0de2-49ac-4672-aa49-6f85f1448863" providerId="ADAL" clId="{7700A521-DC63-44E8-979F-90D016388E80}" dt="2022-11-08T09:53:43.709" v="323" actId="20577"/>
        <pc:sldMkLst>
          <pc:docMk/>
          <pc:sldMk cId="261019471" sldId="385"/>
        </pc:sldMkLst>
        <pc:spChg chg="add mod">
          <ac:chgData name="[Est - IMC] Canas Fernandez, Ian Gabriel" userId="a1ed0de2-49ac-4672-aa49-6f85f1448863" providerId="ADAL" clId="{7700A521-DC63-44E8-979F-90D016388E80}" dt="2022-11-08T06:00:14.751" v="59" actId="1076"/>
          <ac:spMkLst>
            <pc:docMk/>
            <pc:sldMk cId="261019471" sldId="385"/>
            <ac:spMk id="4" creationId="{7703CB26-5158-F0F2-3546-93F3B3E666EC}"/>
          </ac:spMkLst>
        </pc:spChg>
        <pc:spChg chg="mod">
          <ac:chgData name="[Est - IMC] Canas Fernandez, Ian Gabriel" userId="a1ed0de2-49ac-4672-aa49-6f85f1448863" providerId="ADAL" clId="{7700A521-DC63-44E8-979F-90D016388E80}" dt="2022-11-08T06:20:26.516" v="229"/>
          <ac:spMkLst>
            <pc:docMk/>
            <pc:sldMk cId="261019471" sldId="385"/>
            <ac:spMk id="7" creationId="{20F03951-8209-46D3-995E-ACF842F3725A}"/>
          </ac:spMkLst>
        </pc:spChg>
        <pc:spChg chg="mod">
          <ac:chgData name="[Est - IMC] Canas Fernandez, Ian Gabriel" userId="a1ed0de2-49ac-4672-aa49-6f85f1448863" providerId="ADAL" clId="{7700A521-DC63-44E8-979F-90D016388E80}" dt="2022-11-08T09:53:43.709" v="323" actId="20577"/>
          <ac:spMkLst>
            <pc:docMk/>
            <pc:sldMk cId="261019471" sldId="385"/>
            <ac:spMk id="10" creationId="{CB9D7D9B-8592-4BDE-A3EF-B81310A95A92}"/>
          </ac:spMkLst>
        </pc:spChg>
        <pc:spChg chg="del mod">
          <ac:chgData name="[Est - IMC] Canas Fernandez, Ian Gabriel" userId="a1ed0de2-49ac-4672-aa49-6f85f1448863" providerId="ADAL" clId="{7700A521-DC63-44E8-979F-90D016388E80}" dt="2022-11-08T06:00:02.951" v="56" actId="478"/>
          <ac:spMkLst>
            <pc:docMk/>
            <pc:sldMk cId="261019471" sldId="385"/>
            <ac:spMk id="11" creationId="{84E954EF-3E3A-4F92-8E31-403607657762}"/>
          </ac:spMkLst>
        </pc:spChg>
        <pc:spChg chg="del mod">
          <ac:chgData name="[Est - IMC] Canas Fernandez, Ian Gabriel" userId="a1ed0de2-49ac-4672-aa49-6f85f1448863" providerId="ADAL" clId="{7700A521-DC63-44E8-979F-90D016388E80}" dt="2022-11-08T06:00:01.354" v="55" actId="478"/>
          <ac:spMkLst>
            <pc:docMk/>
            <pc:sldMk cId="261019471" sldId="385"/>
            <ac:spMk id="12" creationId="{BD607149-1D44-47A1-A975-F51681F12074}"/>
          </ac:spMkLst>
        </pc:spChg>
      </pc:sldChg>
      <pc:sldChg chg="modSp mod">
        <pc:chgData name="[Est - IMC] Canas Fernandez, Ian Gabriel" userId="a1ed0de2-49ac-4672-aa49-6f85f1448863" providerId="ADAL" clId="{7700A521-DC63-44E8-979F-90D016388E80}" dt="2022-11-08T06:19:41.321" v="214"/>
        <pc:sldMkLst>
          <pc:docMk/>
          <pc:sldMk cId="57841922" sldId="460"/>
        </pc:sldMkLst>
        <pc:spChg chg="mod">
          <ac:chgData name="[Est - IMC] Canas Fernandez, Ian Gabriel" userId="a1ed0de2-49ac-4672-aa49-6f85f1448863" providerId="ADAL" clId="{7700A521-DC63-44E8-979F-90D016388E80}" dt="2022-11-08T06:13:41.914" v="173" actId="1076"/>
          <ac:spMkLst>
            <pc:docMk/>
            <pc:sldMk cId="57841922" sldId="460"/>
            <ac:spMk id="2" creationId="{00000000-0000-0000-0000-000000000000}"/>
          </ac:spMkLst>
        </pc:spChg>
        <pc:graphicFrameChg chg="mod modGraphic">
          <ac:chgData name="[Est - IMC] Canas Fernandez, Ian Gabriel" userId="a1ed0de2-49ac-4672-aa49-6f85f1448863" providerId="ADAL" clId="{7700A521-DC63-44E8-979F-90D016388E80}" dt="2022-11-08T06:19:41.321" v="214"/>
          <ac:graphicFrameMkLst>
            <pc:docMk/>
            <pc:sldMk cId="57841922" sldId="460"/>
            <ac:graphicFrameMk id="7" creationId="{5A092E1D-D0C0-4C44-B38F-92C186F5A179}"/>
          </ac:graphicFrameMkLst>
        </pc:graphicFrameChg>
      </pc:sldChg>
      <pc:sldChg chg="add">
        <pc:chgData name="[Est - IMC] Canas Fernandez, Ian Gabriel" userId="a1ed0de2-49ac-4672-aa49-6f85f1448863" providerId="ADAL" clId="{7700A521-DC63-44E8-979F-90D016388E80}" dt="2022-11-08T06:02:34.035" v="89"/>
        <pc:sldMkLst>
          <pc:docMk/>
          <pc:sldMk cId="1267748224" sldId="467"/>
        </pc:sldMkLst>
      </pc:sldChg>
      <pc:sldChg chg="modSp mod">
        <pc:chgData name="[Est - IMC] Canas Fernandez, Ian Gabriel" userId="a1ed0de2-49ac-4672-aa49-6f85f1448863" providerId="ADAL" clId="{7700A521-DC63-44E8-979F-90D016388E80}" dt="2022-11-08T06:03:23.471" v="95" actId="1076"/>
        <pc:sldMkLst>
          <pc:docMk/>
          <pc:sldMk cId="2683115544" sldId="468"/>
        </pc:sldMkLst>
        <pc:spChg chg="mod">
          <ac:chgData name="[Est - IMC] Canas Fernandez, Ian Gabriel" userId="a1ed0de2-49ac-4672-aa49-6f85f1448863" providerId="ADAL" clId="{7700A521-DC63-44E8-979F-90D016388E80}" dt="2022-11-08T06:03:23.471" v="95" actId="1076"/>
          <ac:spMkLst>
            <pc:docMk/>
            <pc:sldMk cId="2683115544" sldId="468"/>
            <ac:spMk id="4" creationId="{87D2C7EC-7286-400A-BC53-EFCDD7E54DB3}"/>
          </ac:spMkLst>
        </pc:spChg>
      </pc:sldChg>
      <pc:sldChg chg="modSp mod">
        <pc:chgData name="[Est - IMC] Canas Fernandez, Ian Gabriel" userId="a1ed0de2-49ac-4672-aa49-6f85f1448863" providerId="ADAL" clId="{7700A521-DC63-44E8-979F-90D016388E80}" dt="2022-11-08T06:03:35.124" v="96"/>
        <pc:sldMkLst>
          <pc:docMk/>
          <pc:sldMk cId="1928918144" sldId="469"/>
        </pc:sldMkLst>
        <pc:spChg chg="mod">
          <ac:chgData name="[Est - IMC] Canas Fernandez, Ian Gabriel" userId="a1ed0de2-49ac-4672-aa49-6f85f1448863" providerId="ADAL" clId="{7700A521-DC63-44E8-979F-90D016388E80}" dt="2022-11-08T06:03:35.124" v="96"/>
          <ac:spMkLst>
            <pc:docMk/>
            <pc:sldMk cId="1928918144" sldId="469"/>
            <ac:spMk id="4" creationId="{87D2C7EC-7286-400A-BC53-EFCDD7E54DB3}"/>
          </ac:spMkLst>
        </pc:spChg>
      </pc:sldChg>
      <pc:sldChg chg="addSp delSp modSp mod">
        <pc:chgData name="[Est - IMC] Canas Fernandez, Ian Gabriel" userId="a1ed0de2-49ac-4672-aa49-6f85f1448863" providerId="ADAL" clId="{7700A521-DC63-44E8-979F-90D016388E80}" dt="2022-11-08T06:04:39.171" v="103" actId="478"/>
        <pc:sldMkLst>
          <pc:docMk/>
          <pc:sldMk cId="3967343624" sldId="470"/>
        </pc:sldMkLst>
        <pc:spChg chg="del mod">
          <ac:chgData name="[Est - IMC] Canas Fernandez, Ian Gabriel" userId="a1ed0de2-49ac-4672-aa49-6f85f1448863" providerId="ADAL" clId="{7700A521-DC63-44E8-979F-90D016388E80}" dt="2022-11-08T06:04:28.798" v="101" actId="478"/>
          <ac:spMkLst>
            <pc:docMk/>
            <pc:sldMk cId="3967343624" sldId="470"/>
            <ac:spMk id="4" creationId="{87D2C7EC-7286-400A-BC53-EFCDD7E54DB3}"/>
          </ac:spMkLst>
        </pc:spChg>
        <pc:spChg chg="add del mod">
          <ac:chgData name="[Est - IMC] Canas Fernandez, Ian Gabriel" userId="a1ed0de2-49ac-4672-aa49-6f85f1448863" providerId="ADAL" clId="{7700A521-DC63-44E8-979F-90D016388E80}" dt="2022-11-08T06:04:39.171" v="103" actId="478"/>
          <ac:spMkLst>
            <pc:docMk/>
            <pc:sldMk cId="3967343624" sldId="470"/>
            <ac:spMk id="8" creationId="{1B0238C1-D792-5208-C91F-D1B7094B179F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4:33.528" v="102"/>
          <ac:spMkLst>
            <pc:docMk/>
            <pc:sldMk cId="3967343624" sldId="470"/>
            <ac:spMk id="9" creationId="{B337C405-9908-EE88-C927-B6938B16A55F}"/>
          </ac:spMkLst>
        </pc:spChg>
      </pc:sldChg>
      <pc:sldChg chg="addSp delSp modSp mod">
        <pc:chgData name="[Est - IMC] Canas Fernandez, Ian Gabriel" userId="a1ed0de2-49ac-4672-aa49-6f85f1448863" providerId="ADAL" clId="{7700A521-DC63-44E8-979F-90D016388E80}" dt="2022-11-08T06:01:35.256" v="76"/>
        <pc:sldMkLst>
          <pc:docMk/>
          <pc:sldMk cId="3142821187" sldId="471"/>
        </pc:sldMkLst>
        <pc:spChg chg="add mod">
          <ac:chgData name="[Est - IMC] Canas Fernandez, Ian Gabriel" userId="a1ed0de2-49ac-4672-aa49-6f85f1448863" providerId="ADAL" clId="{7700A521-DC63-44E8-979F-90D016388E80}" dt="2022-11-08T06:01:28.683" v="75"/>
          <ac:spMkLst>
            <pc:docMk/>
            <pc:sldMk cId="3142821187" sldId="471"/>
            <ac:spMk id="8" creationId="{18CC2EC6-0A5C-285C-742D-35772599C151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1:35.256" v="76"/>
          <ac:spMkLst>
            <pc:docMk/>
            <pc:sldMk cId="3142821187" sldId="471"/>
            <ac:spMk id="9" creationId="{F6EEE4D3-BDA1-0F09-5DC0-FD7969B490F7}"/>
          </ac:spMkLst>
        </pc:spChg>
        <pc:spChg chg="del mod">
          <ac:chgData name="[Est - IMC] Canas Fernandez, Ian Gabriel" userId="a1ed0de2-49ac-4672-aa49-6f85f1448863" providerId="ADAL" clId="{7700A521-DC63-44E8-979F-90D016388E80}" dt="2022-11-08T06:01:18.320" v="70" actId="478"/>
          <ac:spMkLst>
            <pc:docMk/>
            <pc:sldMk cId="3142821187" sldId="471"/>
            <ac:spMk id="16" creationId="{76865FBD-D565-491E-B142-CF4D31841E43}"/>
          </ac:spMkLst>
        </pc:spChg>
        <pc:spChg chg="del">
          <ac:chgData name="[Est - IMC] Canas Fernandez, Ian Gabriel" userId="a1ed0de2-49ac-4672-aa49-6f85f1448863" providerId="ADAL" clId="{7700A521-DC63-44E8-979F-90D016388E80}" dt="2022-11-08T06:01:20.985" v="73" actId="478"/>
          <ac:spMkLst>
            <pc:docMk/>
            <pc:sldMk cId="3142821187" sldId="471"/>
            <ac:spMk id="21" creationId="{4AA5E442-4C6C-4ACE-A191-D38531843330}"/>
          </ac:spMkLst>
        </pc:spChg>
        <pc:spChg chg="del">
          <ac:chgData name="[Est - IMC] Canas Fernandez, Ian Gabriel" userId="a1ed0de2-49ac-4672-aa49-6f85f1448863" providerId="ADAL" clId="{7700A521-DC63-44E8-979F-90D016388E80}" dt="2022-11-08T06:01:22.446" v="74" actId="478"/>
          <ac:spMkLst>
            <pc:docMk/>
            <pc:sldMk cId="3142821187" sldId="471"/>
            <ac:spMk id="22" creationId="{0E83987D-4893-4B11-BDDC-D1134EA45910}"/>
          </ac:spMkLst>
        </pc:spChg>
        <pc:picChg chg="add mod">
          <ac:chgData name="[Est - IMC] Canas Fernandez, Ian Gabriel" userId="a1ed0de2-49ac-4672-aa49-6f85f1448863" providerId="ADAL" clId="{7700A521-DC63-44E8-979F-90D016388E80}" dt="2022-11-08T06:01:28.683" v="75"/>
          <ac:picMkLst>
            <pc:docMk/>
            <pc:sldMk cId="3142821187" sldId="471"/>
            <ac:picMk id="4" creationId="{1E307437-91B0-C605-99DE-BB797E742F29}"/>
          </ac:picMkLst>
        </pc:picChg>
        <pc:picChg chg="add mod">
          <ac:chgData name="[Est - IMC] Canas Fernandez, Ian Gabriel" userId="a1ed0de2-49ac-4672-aa49-6f85f1448863" providerId="ADAL" clId="{7700A521-DC63-44E8-979F-90D016388E80}" dt="2022-11-08T06:01:28.683" v="75"/>
          <ac:picMkLst>
            <pc:docMk/>
            <pc:sldMk cId="3142821187" sldId="471"/>
            <ac:picMk id="7" creationId="{5AB91044-F958-98CB-ACC2-2C8C12E20529}"/>
          </ac:picMkLst>
        </pc:picChg>
        <pc:picChg chg="del">
          <ac:chgData name="[Est - IMC] Canas Fernandez, Ian Gabriel" userId="a1ed0de2-49ac-4672-aa49-6f85f1448863" providerId="ADAL" clId="{7700A521-DC63-44E8-979F-90D016388E80}" dt="2022-11-08T06:01:15.812" v="68" actId="478"/>
          <ac:picMkLst>
            <pc:docMk/>
            <pc:sldMk cId="3142821187" sldId="471"/>
            <ac:picMk id="13" creationId="{090454FD-DC1C-4D36-BF02-4DB4DA7BE1E0}"/>
          </ac:picMkLst>
        </pc:picChg>
        <pc:picChg chg="del">
          <ac:chgData name="[Est - IMC] Canas Fernandez, Ian Gabriel" userId="a1ed0de2-49ac-4672-aa49-6f85f1448863" providerId="ADAL" clId="{7700A521-DC63-44E8-979F-90D016388E80}" dt="2022-11-08T06:01:19.421" v="72" actId="478"/>
          <ac:picMkLst>
            <pc:docMk/>
            <pc:sldMk cId="3142821187" sldId="471"/>
            <ac:picMk id="18" creationId="{397485B1-2BE4-438C-BA84-41C9677731E3}"/>
          </ac:picMkLst>
        </pc:picChg>
        <pc:picChg chg="del">
          <ac:chgData name="[Est - IMC] Canas Fernandez, Ian Gabriel" userId="a1ed0de2-49ac-4672-aa49-6f85f1448863" providerId="ADAL" clId="{7700A521-DC63-44E8-979F-90D016388E80}" dt="2022-11-08T06:01:18.880" v="71" actId="478"/>
          <ac:picMkLst>
            <pc:docMk/>
            <pc:sldMk cId="3142821187" sldId="471"/>
            <ac:picMk id="20" creationId="{A63392FA-B90C-4534-B095-11084DE2FF24}"/>
          </ac:picMkLst>
        </pc:picChg>
      </pc:sldChg>
      <pc:sldChg chg="add">
        <pc:chgData name="[Est - IMC] Canas Fernandez, Ian Gabriel" userId="a1ed0de2-49ac-4672-aa49-6f85f1448863" providerId="ADAL" clId="{7700A521-DC63-44E8-979F-90D016388E80}" dt="2022-11-08T06:02:34.035" v="89"/>
        <pc:sldMkLst>
          <pc:docMk/>
          <pc:sldMk cId="367905828" sldId="474"/>
        </pc:sldMkLst>
      </pc:sldChg>
      <pc:sldChg chg="addSp delSp modSp mod">
        <pc:chgData name="[Est - IMC] Canas Fernandez, Ian Gabriel" userId="a1ed0de2-49ac-4672-aa49-6f85f1448863" providerId="ADAL" clId="{7700A521-DC63-44E8-979F-90D016388E80}" dt="2022-11-08T06:05:28.778" v="115" actId="1076"/>
        <pc:sldMkLst>
          <pc:docMk/>
          <pc:sldMk cId="2083839657" sldId="483"/>
        </pc:sldMkLst>
        <pc:spChg chg="mod">
          <ac:chgData name="[Est - IMC] Canas Fernandez, Ian Gabriel" userId="a1ed0de2-49ac-4672-aa49-6f85f1448863" providerId="ADAL" clId="{7700A521-DC63-44E8-979F-90D016388E80}" dt="2022-11-08T06:05:08.581" v="112" actId="1076"/>
          <ac:spMkLst>
            <pc:docMk/>
            <pc:sldMk cId="2083839657" sldId="483"/>
            <ac:spMk id="2" creationId="{00000000-0000-0000-0000-000000000000}"/>
          </ac:spMkLst>
        </pc:spChg>
        <pc:spChg chg="mod">
          <ac:chgData name="[Est - IMC] Canas Fernandez, Ian Gabriel" userId="a1ed0de2-49ac-4672-aa49-6f85f1448863" providerId="ADAL" clId="{7700A521-DC63-44E8-979F-90D016388E80}" dt="2022-11-08T06:05:06.141" v="110" actId="1076"/>
          <ac:spMkLst>
            <pc:docMk/>
            <pc:sldMk cId="2083839657" sldId="483"/>
            <ac:spMk id="3" creationId="{00000000-0000-0000-0000-000000000000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5:28.778" v="115" actId="1076"/>
          <ac:spMkLst>
            <pc:docMk/>
            <pc:sldMk cId="2083839657" sldId="483"/>
            <ac:spMk id="8" creationId="{17C89CBF-01B2-7365-B723-3D1269B84CF6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5:28.778" v="115" actId="1076"/>
          <ac:spMkLst>
            <pc:docMk/>
            <pc:sldMk cId="2083839657" sldId="483"/>
            <ac:spMk id="10" creationId="{329F3EE5-7706-A544-C678-FAF93E6C5F01}"/>
          </ac:spMkLst>
        </pc:spChg>
        <pc:spChg chg="del">
          <ac:chgData name="[Est - IMC] Canas Fernandez, Ian Gabriel" userId="a1ed0de2-49ac-4672-aa49-6f85f1448863" providerId="ADAL" clId="{7700A521-DC63-44E8-979F-90D016388E80}" dt="2022-11-08T06:05:13.461" v="113" actId="478"/>
          <ac:spMkLst>
            <pc:docMk/>
            <pc:sldMk cId="2083839657" sldId="483"/>
            <ac:spMk id="15" creationId="{8659DF50-4C24-49C5-B11D-9B83F153578D}"/>
          </ac:spMkLst>
        </pc:spChg>
        <pc:spChg chg="del">
          <ac:chgData name="[Est - IMC] Canas Fernandez, Ian Gabriel" userId="a1ed0de2-49ac-4672-aa49-6f85f1448863" providerId="ADAL" clId="{7700A521-DC63-44E8-979F-90D016388E80}" dt="2022-11-08T06:05:13.461" v="113" actId="478"/>
          <ac:spMkLst>
            <pc:docMk/>
            <pc:sldMk cId="2083839657" sldId="483"/>
            <ac:spMk id="19" creationId="{63607D45-D8C5-4F10-937C-513843FB85DE}"/>
          </ac:spMkLst>
        </pc:spChg>
        <pc:spChg chg="del">
          <ac:chgData name="[Est - IMC] Canas Fernandez, Ian Gabriel" userId="a1ed0de2-49ac-4672-aa49-6f85f1448863" providerId="ADAL" clId="{7700A521-DC63-44E8-979F-90D016388E80}" dt="2022-11-08T06:05:13.461" v="113" actId="478"/>
          <ac:spMkLst>
            <pc:docMk/>
            <pc:sldMk cId="2083839657" sldId="483"/>
            <ac:spMk id="26" creationId="{28D1568C-6228-4DC8-8761-AA2CE25E2A7A}"/>
          </ac:spMkLst>
        </pc:spChg>
        <pc:picChg chg="add mod">
          <ac:chgData name="[Est - IMC] Canas Fernandez, Ian Gabriel" userId="a1ed0de2-49ac-4672-aa49-6f85f1448863" providerId="ADAL" clId="{7700A521-DC63-44E8-979F-90D016388E80}" dt="2022-11-08T06:05:28.778" v="115" actId="1076"/>
          <ac:picMkLst>
            <pc:docMk/>
            <pc:sldMk cId="2083839657" sldId="483"/>
            <ac:picMk id="4" creationId="{01B50F38-706A-54F3-4C2E-1CADB5A205CF}"/>
          </ac:picMkLst>
        </pc:picChg>
        <pc:picChg chg="add mod">
          <ac:chgData name="[Est - IMC] Canas Fernandez, Ian Gabriel" userId="a1ed0de2-49ac-4672-aa49-6f85f1448863" providerId="ADAL" clId="{7700A521-DC63-44E8-979F-90D016388E80}" dt="2022-11-08T06:05:28.778" v="115" actId="1076"/>
          <ac:picMkLst>
            <pc:docMk/>
            <pc:sldMk cId="2083839657" sldId="483"/>
            <ac:picMk id="7" creationId="{7FB8C7F8-39A2-488D-B65E-A92B92EB6919}"/>
          </ac:picMkLst>
        </pc:picChg>
        <pc:picChg chg="add mod">
          <ac:chgData name="[Est - IMC] Canas Fernandez, Ian Gabriel" userId="a1ed0de2-49ac-4672-aa49-6f85f1448863" providerId="ADAL" clId="{7700A521-DC63-44E8-979F-90D016388E80}" dt="2022-11-08T06:05:28.778" v="115" actId="1076"/>
          <ac:picMkLst>
            <pc:docMk/>
            <pc:sldMk cId="2083839657" sldId="483"/>
            <ac:picMk id="9" creationId="{5B7BF79A-F263-19AB-C826-6B6E3F8CB47C}"/>
          </ac:picMkLst>
        </pc:picChg>
        <pc:picChg chg="del">
          <ac:chgData name="[Est - IMC] Canas Fernandez, Ian Gabriel" userId="a1ed0de2-49ac-4672-aa49-6f85f1448863" providerId="ADAL" clId="{7700A521-DC63-44E8-979F-90D016388E80}" dt="2022-11-08T06:05:13.461" v="113" actId="478"/>
          <ac:picMkLst>
            <pc:docMk/>
            <pc:sldMk cId="2083839657" sldId="483"/>
            <ac:picMk id="13" creationId="{EC7946C8-6F9D-4E12-BBF5-34C3B86FED87}"/>
          </ac:picMkLst>
        </pc:picChg>
        <pc:picChg chg="del">
          <ac:chgData name="[Est - IMC] Canas Fernandez, Ian Gabriel" userId="a1ed0de2-49ac-4672-aa49-6f85f1448863" providerId="ADAL" clId="{7700A521-DC63-44E8-979F-90D016388E80}" dt="2022-11-08T06:05:13.461" v="113" actId="478"/>
          <ac:picMkLst>
            <pc:docMk/>
            <pc:sldMk cId="2083839657" sldId="483"/>
            <ac:picMk id="36" creationId="{E465BEE3-10CE-4631-8400-D0E4802DE70B}"/>
          </ac:picMkLst>
        </pc:picChg>
        <pc:picChg chg="del">
          <ac:chgData name="[Est - IMC] Canas Fernandez, Ian Gabriel" userId="a1ed0de2-49ac-4672-aa49-6f85f1448863" providerId="ADAL" clId="{7700A521-DC63-44E8-979F-90D016388E80}" dt="2022-11-08T06:05:13.461" v="113" actId="478"/>
          <ac:picMkLst>
            <pc:docMk/>
            <pc:sldMk cId="2083839657" sldId="483"/>
            <ac:picMk id="37" creationId="{52FC693C-78A9-4897-86D0-5085BEF84B41}"/>
          </ac:picMkLst>
        </pc:picChg>
        <pc:picChg chg="del">
          <ac:chgData name="[Est - IMC] Canas Fernandez, Ian Gabriel" userId="a1ed0de2-49ac-4672-aa49-6f85f1448863" providerId="ADAL" clId="{7700A521-DC63-44E8-979F-90D016388E80}" dt="2022-11-08T06:05:13.461" v="113" actId="478"/>
          <ac:picMkLst>
            <pc:docMk/>
            <pc:sldMk cId="2083839657" sldId="483"/>
            <ac:picMk id="1026" creationId="{46A5C49D-64C8-4F12-9900-EEFC36C5F2E4}"/>
          </ac:picMkLst>
        </pc:picChg>
      </pc:sldChg>
      <pc:sldChg chg="del">
        <pc:chgData name="[Est - IMC] Canas Fernandez, Ian Gabriel" userId="a1ed0de2-49ac-4672-aa49-6f85f1448863" providerId="ADAL" clId="{7700A521-DC63-44E8-979F-90D016388E80}" dt="2022-11-08T06:05:44.565" v="116" actId="2696"/>
        <pc:sldMkLst>
          <pc:docMk/>
          <pc:sldMk cId="2057253179" sldId="487"/>
        </pc:sldMkLst>
      </pc:sldChg>
      <pc:sldChg chg="addSp delSp modSp mod">
        <pc:chgData name="[Est - IMC] Canas Fernandez, Ian Gabriel" userId="a1ed0de2-49ac-4672-aa49-6f85f1448863" providerId="ADAL" clId="{7700A521-DC63-44E8-979F-90D016388E80}" dt="2022-11-08T06:06:38.849" v="133"/>
        <pc:sldMkLst>
          <pc:docMk/>
          <pc:sldMk cId="1116101794" sldId="488"/>
        </pc:sldMkLst>
        <pc:spChg chg="mod">
          <ac:chgData name="[Est - IMC] Canas Fernandez, Ian Gabriel" userId="a1ed0de2-49ac-4672-aa49-6f85f1448863" providerId="ADAL" clId="{7700A521-DC63-44E8-979F-90D016388E80}" dt="2022-11-08T06:06:07.283" v="120" actId="1076"/>
          <ac:spMkLst>
            <pc:docMk/>
            <pc:sldMk cId="1116101794" sldId="488"/>
            <ac:spMk id="2" creationId="{00000000-0000-0000-0000-000000000000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6:38.849" v="133"/>
          <ac:spMkLst>
            <pc:docMk/>
            <pc:sldMk cId="1116101794" sldId="488"/>
            <ac:spMk id="7" creationId="{42B2AC08-E348-B76B-E2CA-B2BE6055190A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6:38.849" v="133"/>
          <ac:spMkLst>
            <pc:docMk/>
            <pc:sldMk cId="1116101794" sldId="488"/>
            <ac:spMk id="9" creationId="{C13ADE49-0A43-75D6-B183-5D2FB8507544}"/>
          </ac:spMkLst>
        </pc:spChg>
        <pc:spChg chg="del">
          <ac:chgData name="[Est - IMC] Canas Fernandez, Ian Gabriel" userId="a1ed0de2-49ac-4672-aa49-6f85f1448863" providerId="ADAL" clId="{7700A521-DC63-44E8-979F-90D016388E80}" dt="2022-11-08T06:06:37.266" v="132" actId="478"/>
          <ac:spMkLst>
            <pc:docMk/>
            <pc:sldMk cId="1116101794" sldId="488"/>
            <ac:spMk id="17" creationId="{BFC282A9-88BB-4F7E-966D-C919DEF8811D}"/>
          </ac:spMkLst>
        </pc:spChg>
        <pc:picChg chg="add mod">
          <ac:chgData name="[Est - IMC] Canas Fernandez, Ian Gabriel" userId="a1ed0de2-49ac-4672-aa49-6f85f1448863" providerId="ADAL" clId="{7700A521-DC63-44E8-979F-90D016388E80}" dt="2022-11-08T06:06:38.849" v="133"/>
          <ac:picMkLst>
            <pc:docMk/>
            <pc:sldMk cId="1116101794" sldId="488"/>
            <ac:picMk id="4" creationId="{F74A0F31-C23B-4898-D6E8-123875CF4046}"/>
          </ac:picMkLst>
        </pc:picChg>
        <pc:picChg chg="add mod">
          <ac:chgData name="[Est - IMC] Canas Fernandez, Ian Gabriel" userId="a1ed0de2-49ac-4672-aa49-6f85f1448863" providerId="ADAL" clId="{7700A521-DC63-44E8-979F-90D016388E80}" dt="2022-11-08T06:06:38.849" v="133"/>
          <ac:picMkLst>
            <pc:docMk/>
            <pc:sldMk cId="1116101794" sldId="488"/>
            <ac:picMk id="8" creationId="{B9146D90-A66C-F20C-C778-C8526A4D820B}"/>
          </ac:picMkLst>
        </pc:picChg>
        <pc:picChg chg="del">
          <ac:chgData name="[Est - IMC] Canas Fernandez, Ian Gabriel" userId="a1ed0de2-49ac-4672-aa49-6f85f1448863" providerId="ADAL" clId="{7700A521-DC63-44E8-979F-90D016388E80}" dt="2022-11-08T06:06:08.683" v="121" actId="478"/>
          <ac:picMkLst>
            <pc:docMk/>
            <pc:sldMk cId="1116101794" sldId="488"/>
            <ac:picMk id="14" creationId="{152A8E1B-9D23-49C5-B9C4-6971C4FB071D}"/>
          </ac:picMkLst>
        </pc:picChg>
      </pc:sldChg>
      <pc:sldChg chg="addSp delSp modSp del mod">
        <pc:chgData name="[Est - IMC] Canas Fernandez, Ian Gabriel" userId="a1ed0de2-49ac-4672-aa49-6f85f1448863" providerId="ADAL" clId="{7700A521-DC63-44E8-979F-90D016388E80}" dt="2022-11-08T06:02:36.556" v="90" actId="47"/>
        <pc:sldMkLst>
          <pc:docMk/>
          <pc:sldMk cId="550514948" sldId="501"/>
        </pc:sldMkLst>
        <pc:spChg chg="mod">
          <ac:chgData name="[Est - IMC] Canas Fernandez, Ian Gabriel" userId="a1ed0de2-49ac-4672-aa49-6f85f1448863" providerId="ADAL" clId="{7700A521-DC63-44E8-979F-90D016388E80}" dt="2022-11-08T06:02:24.846" v="88" actId="14100"/>
          <ac:spMkLst>
            <pc:docMk/>
            <pc:sldMk cId="550514948" sldId="501"/>
            <ac:spMk id="4" creationId="{87D2C7EC-7286-400A-BC53-EFCDD7E54DB3}"/>
          </ac:spMkLst>
        </pc:spChg>
        <pc:spChg chg="add del mod">
          <ac:chgData name="[Est - IMC] Canas Fernandez, Ian Gabriel" userId="a1ed0de2-49ac-4672-aa49-6f85f1448863" providerId="ADAL" clId="{7700A521-DC63-44E8-979F-90D016388E80}" dt="2022-11-08T06:02:23.990" v="87"/>
          <ac:spMkLst>
            <pc:docMk/>
            <pc:sldMk cId="550514948" sldId="501"/>
            <ac:spMk id="8" creationId="{AC8BAC01-B0E9-53C2-E515-E2F6C6A834FF}"/>
          </ac:spMkLst>
        </pc:spChg>
        <pc:spChg chg="add del mod">
          <ac:chgData name="[Est - IMC] Canas Fernandez, Ian Gabriel" userId="a1ed0de2-49ac-4672-aa49-6f85f1448863" providerId="ADAL" clId="{7700A521-DC63-44E8-979F-90D016388E80}" dt="2022-11-08T06:02:23.990" v="87"/>
          <ac:spMkLst>
            <pc:docMk/>
            <pc:sldMk cId="550514948" sldId="501"/>
            <ac:spMk id="9" creationId="{D4F43B97-E0A5-416F-9241-3A26168EFE20}"/>
          </ac:spMkLst>
        </pc:spChg>
        <pc:spChg chg="add del mod">
          <ac:chgData name="[Est - IMC] Canas Fernandez, Ian Gabriel" userId="a1ed0de2-49ac-4672-aa49-6f85f1448863" providerId="ADAL" clId="{7700A521-DC63-44E8-979F-90D016388E80}" dt="2022-11-08T06:02:23.990" v="87"/>
          <ac:spMkLst>
            <pc:docMk/>
            <pc:sldMk cId="550514948" sldId="501"/>
            <ac:spMk id="10" creationId="{620868E4-E4F9-2692-EDCE-2EF2FFBC0331}"/>
          </ac:spMkLst>
        </pc:spChg>
        <pc:spChg chg="del">
          <ac:chgData name="[Est - IMC] Canas Fernandez, Ian Gabriel" userId="a1ed0de2-49ac-4672-aa49-6f85f1448863" providerId="ADAL" clId="{7700A521-DC63-44E8-979F-90D016388E80}" dt="2022-11-08T06:00:51.752" v="64" actId="478"/>
          <ac:spMkLst>
            <pc:docMk/>
            <pc:sldMk cId="550514948" sldId="501"/>
            <ac:spMk id="13" creationId="{D910BDCE-F766-421B-9E27-9FC7A556CDAF}"/>
          </ac:spMkLst>
        </pc:spChg>
        <pc:spChg chg="del">
          <ac:chgData name="[Est - IMC] Canas Fernandez, Ian Gabriel" userId="a1ed0de2-49ac-4672-aa49-6f85f1448863" providerId="ADAL" clId="{7700A521-DC63-44E8-979F-90D016388E80}" dt="2022-11-08T06:00:47.352" v="62" actId="478"/>
          <ac:spMkLst>
            <pc:docMk/>
            <pc:sldMk cId="550514948" sldId="501"/>
            <ac:spMk id="15" creationId="{F5ED30D0-E83C-481B-9527-F4C6D8C23A13}"/>
          </ac:spMkLst>
        </pc:spChg>
        <pc:graphicFrameChg chg="add del mod">
          <ac:chgData name="[Est - IMC] Canas Fernandez, Ian Gabriel" userId="a1ed0de2-49ac-4672-aa49-6f85f1448863" providerId="ADAL" clId="{7700A521-DC63-44E8-979F-90D016388E80}" dt="2022-11-08T06:02:23.990" v="87"/>
          <ac:graphicFrameMkLst>
            <pc:docMk/>
            <pc:sldMk cId="550514948" sldId="501"/>
            <ac:graphicFrameMk id="7" creationId="{232F19A5-7E7B-90ED-EFE3-8A137F676B74}"/>
          </ac:graphicFrameMkLst>
        </pc:graphicFrameChg>
        <pc:picChg chg="del">
          <ac:chgData name="[Est - IMC] Canas Fernandez, Ian Gabriel" userId="a1ed0de2-49ac-4672-aa49-6f85f1448863" providerId="ADAL" clId="{7700A521-DC63-44E8-979F-90D016388E80}" dt="2022-11-08T06:00:49.258" v="63" actId="478"/>
          <ac:picMkLst>
            <pc:docMk/>
            <pc:sldMk cId="550514948" sldId="501"/>
            <ac:picMk id="10242" creationId="{77730E50-F443-40D0-9E98-3BBDCFC02342}"/>
          </ac:picMkLst>
        </pc:picChg>
        <pc:picChg chg="del">
          <ac:chgData name="[Est - IMC] Canas Fernandez, Ian Gabriel" userId="a1ed0de2-49ac-4672-aa49-6f85f1448863" providerId="ADAL" clId="{7700A521-DC63-44E8-979F-90D016388E80}" dt="2022-11-08T06:00:45.101" v="61" actId="478"/>
          <ac:picMkLst>
            <pc:docMk/>
            <pc:sldMk cId="550514948" sldId="501"/>
            <ac:picMk id="10244" creationId="{078B9A46-1F21-4999-882C-74F0687A720B}"/>
          </ac:picMkLst>
        </pc:picChg>
      </pc:sldChg>
      <pc:sldChg chg="addSp delSp modSp mod">
        <pc:chgData name="[Est - IMC] Canas Fernandez, Ian Gabriel" userId="a1ed0de2-49ac-4672-aa49-6f85f1448863" providerId="ADAL" clId="{7700A521-DC63-44E8-979F-90D016388E80}" dt="2022-11-08T06:09:31.869" v="156"/>
        <pc:sldMkLst>
          <pc:docMk/>
          <pc:sldMk cId="1492797267" sldId="504"/>
        </pc:sldMkLst>
        <pc:spChg chg="mod">
          <ac:chgData name="[Est - IMC] Canas Fernandez, Ian Gabriel" userId="a1ed0de2-49ac-4672-aa49-6f85f1448863" providerId="ADAL" clId="{7700A521-DC63-44E8-979F-90D016388E80}" dt="2022-11-08T06:09:22.182" v="154" actId="1076"/>
          <ac:spMkLst>
            <pc:docMk/>
            <pc:sldMk cId="1492797267" sldId="504"/>
            <ac:spMk id="2" creationId="{00000000-0000-0000-0000-000000000000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9:31.869" v="156"/>
          <ac:spMkLst>
            <pc:docMk/>
            <pc:sldMk cId="1492797267" sldId="504"/>
            <ac:spMk id="8" creationId="{62E971D5-4D08-3050-D52E-2F48E010EBA7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9:31.869" v="156"/>
          <ac:spMkLst>
            <pc:docMk/>
            <pc:sldMk cId="1492797267" sldId="504"/>
            <ac:spMk id="9" creationId="{7A0C6FD1-8E9A-2F9D-3964-19E104269DB2}"/>
          </ac:spMkLst>
        </pc:spChg>
        <pc:spChg chg="del mod">
          <ac:chgData name="[Est - IMC] Canas Fernandez, Ian Gabriel" userId="a1ed0de2-49ac-4672-aa49-6f85f1448863" providerId="ADAL" clId="{7700A521-DC63-44E8-979F-90D016388E80}" dt="2022-11-08T06:06:26.014" v="131" actId="478"/>
          <ac:spMkLst>
            <pc:docMk/>
            <pc:sldMk cId="1492797267" sldId="504"/>
            <ac:spMk id="10" creationId="{3AAE8657-C9F6-46FC-80D8-EC60014C3455}"/>
          </ac:spMkLst>
        </pc:spChg>
        <pc:spChg chg="del mod">
          <ac:chgData name="[Est - IMC] Canas Fernandez, Ian Gabriel" userId="a1ed0de2-49ac-4672-aa49-6f85f1448863" providerId="ADAL" clId="{7700A521-DC63-44E8-979F-90D016388E80}" dt="2022-11-08T06:09:25.539" v="155" actId="478"/>
          <ac:spMkLst>
            <pc:docMk/>
            <pc:sldMk cId="1492797267" sldId="504"/>
            <ac:spMk id="13" creationId="{209DA0A5-72C7-4631-BA90-5EBEAFE7EE2E}"/>
          </ac:spMkLst>
        </pc:spChg>
        <pc:picChg chg="add mod">
          <ac:chgData name="[Est - IMC] Canas Fernandez, Ian Gabriel" userId="a1ed0de2-49ac-4672-aa49-6f85f1448863" providerId="ADAL" clId="{7700A521-DC63-44E8-979F-90D016388E80}" dt="2022-11-08T06:09:31.869" v="156"/>
          <ac:picMkLst>
            <pc:docMk/>
            <pc:sldMk cId="1492797267" sldId="504"/>
            <ac:picMk id="4" creationId="{E9C977A8-D2CF-AA57-499F-914982190DDE}"/>
          </ac:picMkLst>
        </pc:picChg>
        <pc:picChg chg="add mod">
          <ac:chgData name="[Est - IMC] Canas Fernandez, Ian Gabriel" userId="a1ed0de2-49ac-4672-aa49-6f85f1448863" providerId="ADAL" clId="{7700A521-DC63-44E8-979F-90D016388E80}" dt="2022-11-08T06:09:31.869" v="156"/>
          <ac:picMkLst>
            <pc:docMk/>
            <pc:sldMk cId="1492797267" sldId="504"/>
            <ac:picMk id="7" creationId="{1EDB880D-5BB2-31BE-B19C-DBF430464075}"/>
          </ac:picMkLst>
        </pc:picChg>
        <pc:picChg chg="del">
          <ac:chgData name="[Est - IMC] Canas Fernandez, Ian Gabriel" userId="a1ed0de2-49ac-4672-aa49-6f85f1448863" providerId="ADAL" clId="{7700A521-DC63-44E8-979F-90D016388E80}" dt="2022-11-08T06:06:22.310" v="129" actId="478"/>
          <ac:picMkLst>
            <pc:docMk/>
            <pc:sldMk cId="1492797267" sldId="504"/>
            <ac:picMk id="11266" creationId="{FD7F3D0D-583D-48DB-AEF9-EC677079113D}"/>
          </ac:picMkLst>
        </pc:picChg>
      </pc:sldChg>
      <pc:sldChg chg="addSp delSp modSp mod">
        <pc:chgData name="[Est - IMC] Canas Fernandez, Ian Gabriel" userId="a1ed0de2-49ac-4672-aa49-6f85f1448863" providerId="ADAL" clId="{7700A521-DC63-44E8-979F-90D016388E80}" dt="2022-11-08T06:07:26.084" v="138"/>
        <pc:sldMkLst>
          <pc:docMk/>
          <pc:sldMk cId="2261892563" sldId="505"/>
        </pc:sldMkLst>
        <pc:spChg chg="mod">
          <ac:chgData name="[Est - IMC] Canas Fernandez, Ian Gabriel" userId="a1ed0de2-49ac-4672-aa49-6f85f1448863" providerId="ADAL" clId="{7700A521-DC63-44E8-979F-90D016388E80}" dt="2022-11-08T06:07:16.056" v="137"/>
          <ac:spMkLst>
            <pc:docMk/>
            <pc:sldMk cId="2261892563" sldId="505"/>
            <ac:spMk id="2" creationId="{00000000-0000-0000-0000-000000000000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7:26.084" v="138"/>
          <ac:spMkLst>
            <pc:docMk/>
            <pc:sldMk cId="2261892563" sldId="505"/>
            <ac:spMk id="7" creationId="{5AAB7891-C71B-C026-3829-395A7A4C4421}"/>
          </ac:spMkLst>
        </pc:spChg>
        <pc:spChg chg="del mod">
          <ac:chgData name="[Est - IMC] Canas Fernandez, Ian Gabriel" userId="a1ed0de2-49ac-4672-aa49-6f85f1448863" providerId="ADAL" clId="{7700A521-DC63-44E8-979F-90D016388E80}" dt="2022-11-08T06:06:14.318" v="124"/>
          <ac:spMkLst>
            <pc:docMk/>
            <pc:sldMk cId="2261892563" sldId="505"/>
            <ac:spMk id="13" creationId="{161C6573-2239-4CA2-839E-BCFA70729382}"/>
          </ac:spMkLst>
        </pc:spChg>
        <pc:picChg chg="add mod">
          <ac:chgData name="[Est - IMC] Canas Fernandez, Ian Gabriel" userId="a1ed0de2-49ac-4672-aa49-6f85f1448863" providerId="ADAL" clId="{7700A521-DC63-44E8-979F-90D016388E80}" dt="2022-11-08T06:07:26.084" v="138"/>
          <ac:picMkLst>
            <pc:docMk/>
            <pc:sldMk cId="2261892563" sldId="505"/>
            <ac:picMk id="4" creationId="{64917F90-A195-FE70-1BAE-9BEFFB8C739A}"/>
          </ac:picMkLst>
        </pc:picChg>
      </pc:sldChg>
      <pc:sldChg chg="modSp mod">
        <pc:chgData name="[Est - IMC] Canas Fernandez, Ian Gabriel" userId="a1ed0de2-49ac-4672-aa49-6f85f1448863" providerId="ADAL" clId="{7700A521-DC63-44E8-979F-90D016388E80}" dt="2022-11-08T09:53:58.286" v="327" actId="27636"/>
        <pc:sldMkLst>
          <pc:docMk/>
          <pc:sldMk cId="2858868976" sldId="507"/>
        </pc:sldMkLst>
        <pc:spChg chg="mod">
          <ac:chgData name="[Est - IMC] Canas Fernandez, Ian Gabriel" userId="a1ed0de2-49ac-4672-aa49-6f85f1448863" providerId="ADAL" clId="{7700A521-DC63-44E8-979F-90D016388E80}" dt="2022-11-08T09:53:58.286" v="327" actId="27636"/>
          <ac:spMkLst>
            <pc:docMk/>
            <pc:sldMk cId="2858868976" sldId="507"/>
            <ac:spMk id="4" creationId="{87D2C7EC-7286-400A-BC53-EFCDD7E54DB3}"/>
          </ac:spMkLst>
        </pc:spChg>
      </pc:sldChg>
      <pc:sldChg chg="addSp delSp modSp mod">
        <pc:chgData name="[Est - IMC] Canas Fernandez, Ian Gabriel" userId="a1ed0de2-49ac-4672-aa49-6f85f1448863" providerId="ADAL" clId="{7700A521-DC63-44E8-979F-90D016388E80}" dt="2022-11-08T06:07:56.737" v="142"/>
        <pc:sldMkLst>
          <pc:docMk/>
          <pc:sldMk cId="2382148797" sldId="508"/>
        </pc:sldMkLst>
        <pc:spChg chg="mod">
          <ac:chgData name="[Est - IMC] Canas Fernandez, Ian Gabriel" userId="a1ed0de2-49ac-4672-aa49-6f85f1448863" providerId="ADAL" clId="{7700A521-DC63-44E8-979F-90D016388E80}" dt="2022-11-08T06:07:49.795" v="141" actId="1076"/>
          <ac:spMkLst>
            <pc:docMk/>
            <pc:sldMk cId="2382148797" sldId="508"/>
            <ac:spMk id="2" creationId="{00000000-0000-0000-0000-000000000000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7:56.737" v="142"/>
          <ac:spMkLst>
            <pc:docMk/>
            <pc:sldMk cId="2382148797" sldId="508"/>
            <ac:spMk id="8" creationId="{11EBC475-9E06-D5BD-85AB-59CC99602CAA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7:56.737" v="142"/>
          <ac:spMkLst>
            <pc:docMk/>
            <pc:sldMk cId="2382148797" sldId="508"/>
            <ac:spMk id="9" creationId="{1A66B19F-CD3C-BAFE-0262-78068E89B66D}"/>
          </ac:spMkLst>
        </pc:spChg>
        <pc:spChg chg="del mod">
          <ac:chgData name="[Est - IMC] Canas Fernandez, Ian Gabriel" userId="a1ed0de2-49ac-4672-aa49-6f85f1448863" providerId="ADAL" clId="{7700A521-DC63-44E8-979F-90D016388E80}" dt="2022-11-08T06:06:17.347" v="127"/>
          <ac:spMkLst>
            <pc:docMk/>
            <pc:sldMk cId="2382148797" sldId="508"/>
            <ac:spMk id="10" creationId="{0014E588-71AA-4B03-A5DF-D38C227DA939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7:56.737" v="142"/>
          <ac:spMkLst>
            <pc:docMk/>
            <pc:sldMk cId="2382148797" sldId="508"/>
            <ac:spMk id="12" creationId="{0487039E-6D8F-C97A-3D4D-CBB259C7D45E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7:56.737" v="142"/>
          <ac:spMkLst>
            <pc:docMk/>
            <pc:sldMk cId="2382148797" sldId="508"/>
            <ac:spMk id="13" creationId="{2EC1C093-A7E3-DD9B-D44B-A13504A25D38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7:56.737" v="142"/>
          <ac:spMkLst>
            <pc:docMk/>
            <pc:sldMk cId="2382148797" sldId="508"/>
            <ac:spMk id="14" creationId="{A8AE5FAC-ED49-3AED-C171-78945E0B7C17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7:56.737" v="142"/>
          <ac:spMkLst>
            <pc:docMk/>
            <pc:sldMk cId="2382148797" sldId="508"/>
            <ac:spMk id="15" creationId="{2C3E8E5E-69F9-17E7-D989-F1EE6A7E7854}"/>
          </ac:spMkLst>
        </pc:spChg>
        <pc:picChg chg="add mod">
          <ac:chgData name="[Est - IMC] Canas Fernandez, Ian Gabriel" userId="a1ed0de2-49ac-4672-aa49-6f85f1448863" providerId="ADAL" clId="{7700A521-DC63-44E8-979F-90D016388E80}" dt="2022-11-08T06:07:56.737" v="142"/>
          <ac:picMkLst>
            <pc:docMk/>
            <pc:sldMk cId="2382148797" sldId="508"/>
            <ac:picMk id="4" creationId="{57BFD955-2BD3-F98F-506E-C27507755B49}"/>
          </ac:picMkLst>
        </pc:picChg>
        <pc:picChg chg="add mod">
          <ac:chgData name="[Est - IMC] Canas Fernandez, Ian Gabriel" userId="a1ed0de2-49ac-4672-aa49-6f85f1448863" providerId="ADAL" clId="{7700A521-DC63-44E8-979F-90D016388E80}" dt="2022-11-08T06:07:56.737" v="142"/>
          <ac:picMkLst>
            <pc:docMk/>
            <pc:sldMk cId="2382148797" sldId="508"/>
            <ac:picMk id="7" creationId="{4AAB1F56-B69B-057A-659F-F4F4565DCF93}"/>
          </ac:picMkLst>
        </pc:picChg>
      </pc:sldChg>
      <pc:sldChg chg="addSp delSp modSp mod">
        <pc:chgData name="[Est - IMC] Canas Fernandez, Ian Gabriel" userId="a1ed0de2-49ac-4672-aa49-6f85f1448863" providerId="ADAL" clId="{7700A521-DC63-44E8-979F-90D016388E80}" dt="2022-11-08T06:20:15.183" v="228" actId="20577"/>
        <pc:sldMkLst>
          <pc:docMk/>
          <pc:sldMk cId="127686856" sldId="511"/>
        </pc:sldMkLst>
        <pc:spChg chg="mod">
          <ac:chgData name="[Est - IMC] Canas Fernandez, Ian Gabriel" userId="a1ed0de2-49ac-4672-aa49-6f85f1448863" providerId="ADAL" clId="{7700A521-DC63-44E8-979F-90D016388E80}" dt="2022-11-08T06:20:15.183" v="228" actId="20577"/>
          <ac:spMkLst>
            <pc:docMk/>
            <pc:sldMk cId="127686856" sldId="511"/>
            <ac:spMk id="13" creationId="{855FC9DA-1F39-47AA-9C2A-05FD65B6B0C8}"/>
          </ac:spMkLst>
        </pc:spChg>
        <pc:picChg chg="add mod">
          <ac:chgData name="[Est - IMC] Canas Fernandez, Ian Gabriel" userId="a1ed0de2-49ac-4672-aa49-6f85f1448863" providerId="ADAL" clId="{7700A521-DC63-44E8-979F-90D016388E80}" dt="2022-11-08T06:20:06.416" v="218" actId="1076"/>
          <ac:picMkLst>
            <pc:docMk/>
            <pc:sldMk cId="127686856" sldId="511"/>
            <ac:picMk id="4" creationId="{8850F6F7-288A-C18A-AC9A-23DA2F67FB08}"/>
          </ac:picMkLst>
        </pc:picChg>
        <pc:picChg chg="del">
          <ac:chgData name="[Est - IMC] Canas Fernandez, Ian Gabriel" userId="a1ed0de2-49ac-4672-aa49-6f85f1448863" providerId="ADAL" clId="{7700A521-DC63-44E8-979F-90D016388E80}" dt="2022-11-08T06:19:51.113" v="215" actId="478"/>
          <ac:picMkLst>
            <pc:docMk/>
            <pc:sldMk cId="127686856" sldId="511"/>
            <ac:picMk id="9" creationId="{922CD2B4-1078-4DE1-8E36-1C4180509CAE}"/>
          </ac:picMkLst>
        </pc:picChg>
      </pc:sldChg>
      <pc:sldChg chg="modSp mod ord addCm">
        <pc:chgData name="[Est - IMC] Canas Fernandez, Ian Gabriel" userId="a1ed0de2-49ac-4672-aa49-6f85f1448863" providerId="ADAL" clId="{7700A521-DC63-44E8-979F-90D016388E80}" dt="2022-11-08T06:23:30.696" v="261"/>
        <pc:sldMkLst>
          <pc:docMk/>
          <pc:sldMk cId="1226279496" sldId="512"/>
        </pc:sldMkLst>
        <pc:spChg chg="mod">
          <ac:chgData name="[Est - IMC] Canas Fernandez, Ian Gabriel" userId="a1ed0de2-49ac-4672-aa49-6f85f1448863" providerId="ADAL" clId="{7700A521-DC63-44E8-979F-90D016388E80}" dt="2022-11-08T06:23:13.282" v="256" actId="20577"/>
          <ac:spMkLst>
            <pc:docMk/>
            <pc:sldMk cId="1226279496" sldId="512"/>
            <ac:spMk id="13" creationId="{209DA0A5-72C7-4631-BA90-5EBEAFE7EE2E}"/>
          </ac:spMkLst>
        </pc:spChg>
      </pc:sldChg>
      <pc:sldChg chg="addSp delSp modSp mod addCm delCm">
        <pc:chgData name="[Est - IMC] Canas Fernandez, Ian Gabriel" userId="a1ed0de2-49ac-4672-aa49-6f85f1448863" providerId="ADAL" clId="{7700A521-DC63-44E8-979F-90D016388E80}" dt="2022-11-08T09:55:20.712" v="356"/>
        <pc:sldMkLst>
          <pc:docMk/>
          <pc:sldMk cId="3446891795" sldId="513"/>
        </pc:sldMkLst>
        <pc:graphicFrameChg chg="add del mod">
          <ac:chgData name="[Est - IMC] Canas Fernandez, Ian Gabriel" userId="a1ed0de2-49ac-4672-aa49-6f85f1448863" providerId="ADAL" clId="{7700A521-DC63-44E8-979F-90D016388E80}" dt="2022-11-08T09:49:12.267" v="300"/>
          <ac:graphicFrameMkLst>
            <pc:docMk/>
            <pc:sldMk cId="3446891795" sldId="513"/>
            <ac:graphicFrameMk id="2" creationId="{BA107E97-A7DB-2642-6716-F58C8930F8E5}"/>
          </ac:graphicFrameMkLst>
        </pc:graphicFrameChg>
        <pc:picChg chg="add mod">
          <ac:chgData name="[Est - IMC] Canas Fernandez, Ian Gabriel" userId="a1ed0de2-49ac-4672-aa49-6f85f1448863" providerId="ADAL" clId="{7700A521-DC63-44E8-979F-90D016388E80}" dt="2022-11-08T09:49:31.794" v="308" actId="1076"/>
          <ac:picMkLst>
            <pc:docMk/>
            <pc:sldMk cId="3446891795" sldId="513"/>
            <ac:picMk id="4" creationId="{4C868EE5-962A-6C2A-8326-7BF979821492}"/>
          </ac:picMkLst>
        </pc:picChg>
        <pc:picChg chg="del">
          <ac:chgData name="[Est - IMC] Canas Fernandez, Ian Gabriel" userId="a1ed0de2-49ac-4672-aa49-6f85f1448863" providerId="ADAL" clId="{7700A521-DC63-44E8-979F-90D016388E80}" dt="2022-11-08T09:49:00.121" v="296" actId="478"/>
          <ac:picMkLst>
            <pc:docMk/>
            <pc:sldMk cId="3446891795" sldId="513"/>
            <ac:picMk id="7" creationId="{5AC11A50-0EB0-4EE8-CB23-415BE8B0A557}"/>
          </ac:picMkLst>
        </pc:picChg>
      </pc:sldChg>
      <pc:sldChg chg="addSp delSp modSp mod setBg">
        <pc:chgData name="[Est - IMC] Canas Fernandez, Ian Gabriel" userId="a1ed0de2-49ac-4672-aa49-6f85f1448863" providerId="ADAL" clId="{7700A521-DC63-44E8-979F-90D016388E80}" dt="2022-11-08T08:52:08.669" v="293" actId="1076"/>
        <pc:sldMkLst>
          <pc:docMk/>
          <pc:sldMk cId="117649598" sldId="514"/>
        </pc:sldMkLst>
        <pc:spChg chg="mod">
          <ac:chgData name="[Est - IMC] Canas Fernandez, Ian Gabriel" userId="a1ed0de2-49ac-4672-aa49-6f85f1448863" providerId="ADAL" clId="{7700A521-DC63-44E8-979F-90D016388E80}" dt="2022-11-08T08:51:46.936" v="287" actId="26606"/>
          <ac:spMkLst>
            <pc:docMk/>
            <pc:sldMk cId="117649598" sldId="514"/>
            <ac:spMk id="3" creationId="{00000000-0000-0000-0000-000000000000}"/>
          </ac:spMkLst>
        </pc:spChg>
        <pc:spChg chg="mod ord">
          <ac:chgData name="[Est - IMC] Canas Fernandez, Ian Gabriel" userId="a1ed0de2-49ac-4672-aa49-6f85f1448863" providerId="ADAL" clId="{7700A521-DC63-44E8-979F-90D016388E80}" dt="2022-11-08T08:51:46.936" v="287" actId="26606"/>
          <ac:spMkLst>
            <pc:docMk/>
            <pc:sldMk cId="117649598" sldId="514"/>
            <ac:spMk id="11" creationId="{00000000-0000-0000-0000-000000000000}"/>
          </ac:spMkLst>
        </pc:spChg>
        <pc:spChg chg="mod ord">
          <ac:chgData name="[Est - IMC] Canas Fernandez, Ian Gabriel" userId="a1ed0de2-49ac-4672-aa49-6f85f1448863" providerId="ADAL" clId="{7700A521-DC63-44E8-979F-90D016388E80}" dt="2022-11-08T08:51:46.936" v="287" actId="26606"/>
          <ac:spMkLst>
            <pc:docMk/>
            <pc:sldMk cId="117649598" sldId="514"/>
            <ac:spMk id="14" creationId="{EF2B42E0-4C64-4C52-BF0F-F46D234995A4}"/>
          </ac:spMkLst>
        </pc:spChg>
        <pc:spChg chg="add del">
          <ac:chgData name="[Est - IMC] Canas Fernandez, Ian Gabriel" userId="a1ed0de2-49ac-4672-aa49-6f85f1448863" providerId="ADAL" clId="{7700A521-DC63-44E8-979F-90D016388E80}" dt="2022-11-08T08:51:44.410" v="285" actId="26606"/>
          <ac:spMkLst>
            <pc:docMk/>
            <pc:sldMk cId="117649598" sldId="514"/>
            <ac:spMk id="3079" creationId="{5E39A796-BE83-48B1-B33F-35C4A32AAB57}"/>
          </ac:spMkLst>
        </pc:spChg>
        <pc:spChg chg="add del">
          <ac:chgData name="[Est - IMC] Canas Fernandez, Ian Gabriel" userId="a1ed0de2-49ac-4672-aa49-6f85f1448863" providerId="ADAL" clId="{7700A521-DC63-44E8-979F-90D016388E80}" dt="2022-11-08T08:51:44.410" v="285" actId="26606"/>
          <ac:spMkLst>
            <pc:docMk/>
            <pc:sldMk cId="117649598" sldId="514"/>
            <ac:spMk id="3081" creationId="{72F84B47-E267-4194-8194-831DB7B5547F}"/>
          </ac:spMkLst>
        </pc:spChg>
        <pc:spChg chg="add del">
          <ac:chgData name="[Est - IMC] Canas Fernandez, Ian Gabriel" userId="a1ed0de2-49ac-4672-aa49-6f85f1448863" providerId="ADAL" clId="{7700A521-DC63-44E8-979F-90D016388E80}" dt="2022-11-08T08:51:46.936" v="287" actId="26606"/>
          <ac:spMkLst>
            <pc:docMk/>
            <pc:sldMk cId="117649598" sldId="514"/>
            <ac:spMk id="3086" creationId="{33CD251C-A887-4D2F-925B-FC097198538B}"/>
          </ac:spMkLst>
        </pc:spChg>
        <pc:spChg chg="add del">
          <ac:chgData name="[Est - IMC] Canas Fernandez, Ian Gabriel" userId="a1ed0de2-49ac-4672-aa49-6f85f1448863" providerId="ADAL" clId="{7700A521-DC63-44E8-979F-90D016388E80}" dt="2022-11-08T08:51:46.936" v="287" actId="26606"/>
          <ac:spMkLst>
            <pc:docMk/>
            <pc:sldMk cId="117649598" sldId="514"/>
            <ac:spMk id="3087" creationId="{3B2069EE-A08E-44F0-B3F9-3CF8CC2DCAD5}"/>
          </ac:spMkLst>
        </pc:spChg>
        <pc:grpChg chg="add del">
          <ac:chgData name="[Est - IMC] Canas Fernandez, Ian Gabriel" userId="a1ed0de2-49ac-4672-aa49-6f85f1448863" providerId="ADAL" clId="{7700A521-DC63-44E8-979F-90D016388E80}" dt="2022-11-08T08:51:46.936" v="287" actId="26606"/>
          <ac:grpSpMkLst>
            <pc:docMk/>
            <pc:sldMk cId="117649598" sldId="514"/>
            <ac:grpSpMk id="3083" creationId="{C9888C69-11CC-40BA-BABF-F9B7E11C9156}"/>
          </ac:grpSpMkLst>
        </pc:grpChg>
        <pc:picChg chg="del">
          <ac:chgData name="[Est - IMC] Canas Fernandez, Ian Gabriel" userId="a1ed0de2-49ac-4672-aa49-6f85f1448863" providerId="ADAL" clId="{7700A521-DC63-44E8-979F-90D016388E80}" dt="2022-11-08T08:51:19.790" v="278" actId="478"/>
          <ac:picMkLst>
            <pc:docMk/>
            <pc:sldMk cId="117649598" sldId="514"/>
            <ac:picMk id="7" creationId="{DF7C51BD-429F-F217-93FA-5AE5DF4FFDBB}"/>
          </ac:picMkLst>
        </pc:picChg>
        <pc:picChg chg="add del">
          <ac:chgData name="[Est - IMC] Canas Fernandez, Ian Gabriel" userId="a1ed0de2-49ac-4672-aa49-6f85f1448863" providerId="ADAL" clId="{7700A521-DC63-44E8-979F-90D016388E80}" dt="2022-11-08T08:51:24.849" v="280"/>
          <ac:picMkLst>
            <pc:docMk/>
            <pc:sldMk cId="117649598" sldId="514"/>
            <ac:picMk id="3073" creationId="{8D9751FE-7AF3-554C-1E59-4687AAF6B50C}"/>
          </ac:picMkLst>
        </pc:picChg>
        <pc:picChg chg="add del mod ord">
          <ac:chgData name="[Est - IMC] Canas Fernandez, Ian Gabriel" userId="a1ed0de2-49ac-4672-aa49-6f85f1448863" providerId="ADAL" clId="{7700A521-DC63-44E8-979F-90D016388E80}" dt="2022-11-08T08:51:47.448" v="288"/>
          <ac:picMkLst>
            <pc:docMk/>
            <pc:sldMk cId="117649598" sldId="514"/>
            <ac:picMk id="3074" creationId="{ACB691EC-B4C3-BC57-B2FB-63A53D7EBB6E}"/>
          </ac:picMkLst>
        </pc:picChg>
        <pc:picChg chg="add mod">
          <ac:chgData name="[Est - IMC] Canas Fernandez, Ian Gabriel" userId="a1ed0de2-49ac-4672-aa49-6f85f1448863" providerId="ADAL" clId="{7700A521-DC63-44E8-979F-90D016388E80}" dt="2022-11-08T08:52:08.669" v="293" actId="1076"/>
          <ac:picMkLst>
            <pc:docMk/>
            <pc:sldMk cId="117649598" sldId="514"/>
            <ac:picMk id="3075" creationId="{1C635386-D39B-775E-C141-7165A0645F11}"/>
          </ac:picMkLst>
        </pc:picChg>
      </pc:sldChg>
      <pc:sldChg chg="addCm">
        <pc:chgData name="[Est - IMC] Canas Fernandez, Ian Gabriel" userId="a1ed0de2-49ac-4672-aa49-6f85f1448863" providerId="ADAL" clId="{7700A521-DC63-44E8-979F-90D016388E80}" dt="2022-11-08T09:55:35.672" v="357"/>
        <pc:sldMkLst>
          <pc:docMk/>
          <pc:sldMk cId="3132386926" sldId="516"/>
        </pc:sldMkLst>
      </pc:sldChg>
      <pc:sldChg chg="addSp delSp modSp mod">
        <pc:chgData name="[Est - IMC] Canas Fernandez, Ian Gabriel" userId="a1ed0de2-49ac-4672-aa49-6f85f1448863" providerId="ADAL" clId="{7700A521-DC63-44E8-979F-90D016388E80}" dt="2022-11-08T08:01:03.444" v="275" actId="1076"/>
        <pc:sldMkLst>
          <pc:docMk/>
          <pc:sldMk cId="2228789392" sldId="517"/>
        </pc:sldMkLst>
        <pc:graphicFrameChg chg="add del mod">
          <ac:chgData name="[Est - IMC] Canas Fernandez, Ian Gabriel" userId="a1ed0de2-49ac-4672-aa49-6f85f1448863" providerId="ADAL" clId="{7700A521-DC63-44E8-979F-90D016388E80}" dt="2022-11-08T08:00:42.863" v="268"/>
          <ac:graphicFrameMkLst>
            <pc:docMk/>
            <pc:sldMk cId="2228789392" sldId="517"/>
            <ac:graphicFrameMk id="2" creationId="{C0E0E0E3-E973-6E25-3BF9-A0ED244D77C9}"/>
          </ac:graphicFrameMkLst>
        </pc:graphicFrameChg>
        <pc:picChg chg="add mod">
          <ac:chgData name="[Est - IMC] Canas Fernandez, Ian Gabriel" userId="a1ed0de2-49ac-4672-aa49-6f85f1448863" providerId="ADAL" clId="{7700A521-DC63-44E8-979F-90D016388E80}" dt="2022-11-08T08:01:03.444" v="275" actId="1076"/>
          <ac:picMkLst>
            <pc:docMk/>
            <pc:sldMk cId="2228789392" sldId="517"/>
            <ac:picMk id="4" creationId="{69C860D4-03B3-2EC4-1946-3AA211E5870C}"/>
          </ac:picMkLst>
        </pc:picChg>
        <pc:picChg chg="del">
          <ac:chgData name="[Est - IMC] Canas Fernandez, Ian Gabriel" userId="a1ed0de2-49ac-4672-aa49-6f85f1448863" providerId="ADAL" clId="{7700A521-DC63-44E8-979F-90D016388E80}" dt="2022-11-08T08:00:28.613" v="264" actId="478"/>
          <ac:picMkLst>
            <pc:docMk/>
            <pc:sldMk cId="2228789392" sldId="517"/>
            <ac:picMk id="8" creationId="{E7ABA3B7-0987-4C14-B6E1-FE14F886DACC}"/>
          </ac:picMkLst>
        </pc:picChg>
      </pc:sldChg>
      <pc:sldChg chg="delSp modSp mod addCm modCm">
        <pc:chgData name="[Est - IMC] Canas Fernandez, Ian Gabriel" userId="a1ed0de2-49ac-4672-aa49-6f85f1448863" providerId="ADAL" clId="{7700A521-DC63-44E8-979F-90D016388E80}" dt="2022-11-08T06:22:52.886" v="255"/>
        <pc:sldMkLst>
          <pc:docMk/>
          <pc:sldMk cId="929489489" sldId="519"/>
        </pc:sldMkLst>
        <pc:spChg chg="mod">
          <ac:chgData name="[Est - IMC] Canas Fernandez, Ian Gabriel" userId="a1ed0de2-49ac-4672-aa49-6f85f1448863" providerId="ADAL" clId="{7700A521-DC63-44E8-979F-90D016388E80}" dt="2022-11-08T06:21:13.783" v="251" actId="20577"/>
          <ac:spMkLst>
            <pc:docMk/>
            <pc:sldMk cId="929489489" sldId="519"/>
            <ac:spMk id="2" creationId="{00000000-0000-0000-0000-000000000000}"/>
          </ac:spMkLst>
        </pc:spChg>
        <pc:spChg chg="mod">
          <ac:chgData name="[Est - IMC] Canas Fernandez, Ian Gabriel" userId="a1ed0de2-49ac-4672-aa49-6f85f1448863" providerId="ADAL" clId="{7700A521-DC63-44E8-979F-90D016388E80}" dt="2022-11-08T06:21:09.177" v="249" actId="20577"/>
          <ac:spMkLst>
            <pc:docMk/>
            <pc:sldMk cId="929489489" sldId="519"/>
            <ac:spMk id="9" creationId="{BA3117D1-89ED-BDAB-14ED-E04582437B47}"/>
          </ac:spMkLst>
        </pc:spChg>
        <pc:spChg chg="mod">
          <ac:chgData name="[Est - IMC] Canas Fernandez, Ian Gabriel" userId="a1ed0de2-49ac-4672-aa49-6f85f1448863" providerId="ADAL" clId="{7700A521-DC63-44E8-979F-90D016388E80}" dt="2022-11-08T06:21:04.812" v="241" actId="20577"/>
          <ac:spMkLst>
            <pc:docMk/>
            <pc:sldMk cId="929489489" sldId="519"/>
            <ac:spMk id="13" creationId="{855FC9DA-1F39-47AA-9C2A-05FD65B6B0C8}"/>
          </ac:spMkLst>
        </pc:spChg>
        <pc:picChg chg="del">
          <ac:chgData name="[Est - IMC] Canas Fernandez, Ian Gabriel" userId="a1ed0de2-49ac-4672-aa49-6f85f1448863" providerId="ADAL" clId="{7700A521-DC63-44E8-979F-90D016388E80}" dt="2022-11-08T06:20:58.516" v="233" actId="478"/>
          <ac:picMkLst>
            <pc:docMk/>
            <pc:sldMk cId="929489489" sldId="519"/>
            <ac:picMk id="8" creationId="{B61E9E1E-ADBC-A613-C30E-232765709E82}"/>
          </ac:picMkLst>
        </pc:picChg>
        <pc:picChg chg="del">
          <ac:chgData name="[Est - IMC] Canas Fernandez, Ian Gabriel" userId="a1ed0de2-49ac-4672-aa49-6f85f1448863" providerId="ADAL" clId="{7700A521-DC63-44E8-979F-90D016388E80}" dt="2022-11-08T06:20:57.834" v="232" actId="478"/>
          <ac:picMkLst>
            <pc:docMk/>
            <pc:sldMk cId="929489489" sldId="519"/>
            <ac:picMk id="10" creationId="{FC1BBC68-3D44-460F-835C-D79D1D38A7BE}"/>
          </ac:picMkLst>
        </pc:picChg>
      </pc:sldChg>
      <pc:sldChg chg="addCm">
        <pc:chgData name="[Est - IMC] Canas Fernandez, Ian Gabriel" userId="a1ed0de2-49ac-4672-aa49-6f85f1448863" providerId="ADAL" clId="{7700A521-DC63-44E8-979F-90D016388E80}" dt="2022-11-08T09:57:06.912" v="361"/>
        <pc:sldMkLst>
          <pc:docMk/>
          <pc:sldMk cId="2630937539" sldId="522"/>
        </pc:sldMkLst>
      </pc:sldChg>
      <pc:sldChg chg="addCm">
        <pc:chgData name="[Est - IMC] Canas Fernandez, Ian Gabriel" userId="a1ed0de2-49ac-4672-aa49-6f85f1448863" providerId="ADAL" clId="{7700A521-DC63-44E8-979F-90D016388E80}" dt="2022-11-08T09:57:15.240" v="362"/>
        <pc:sldMkLst>
          <pc:docMk/>
          <pc:sldMk cId="3432675280" sldId="524"/>
        </pc:sldMkLst>
      </pc:sldChg>
      <pc:sldChg chg="addCm modCm">
        <pc:chgData name="[Est - IMC] Canas Fernandez, Ian Gabriel" userId="a1ed0de2-49ac-4672-aa49-6f85f1448863" providerId="ADAL" clId="{7700A521-DC63-44E8-979F-90D016388E80}" dt="2022-11-08T21:29:12.396" v="365" actId="2056"/>
        <pc:sldMkLst>
          <pc:docMk/>
          <pc:sldMk cId="2501808417" sldId="525"/>
        </pc:sldMkLst>
      </pc:sldChg>
      <pc:sldChg chg="del">
        <pc:chgData name="[Est - IMC] Canas Fernandez, Ian Gabriel" userId="a1ed0de2-49ac-4672-aa49-6f85f1448863" providerId="ADAL" clId="{7700A521-DC63-44E8-979F-90D016388E80}" dt="2022-11-08T09:53:51.970" v="325" actId="47"/>
        <pc:sldMkLst>
          <pc:docMk/>
          <pc:sldMk cId="294902913" sldId="526"/>
        </pc:sldMkLst>
      </pc:sldChg>
      <pc:sldChg chg="addCm">
        <pc:chgData name="[Est - IMC] Canas Fernandez, Ian Gabriel" userId="a1ed0de2-49ac-4672-aa49-6f85f1448863" providerId="ADAL" clId="{7700A521-DC63-44E8-979F-90D016388E80}" dt="2022-11-08T09:57:29.476" v="363"/>
        <pc:sldMkLst>
          <pc:docMk/>
          <pc:sldMk cId="3850286986" sldId="527"/>
        </pc:sldMkLst>
      </pc:sldChg>
      <pc:sldChg chg="addCm">
        <pc:chgData name="[Est - IMC] Canas Fernandez, Ian Gabriel" userId="a1ed0de2-49ac-4672-aa49-6f85f1448863" providerId="ADAL" clId="{7700A521-DC63-44E8-979F-90D016388E80}" dt="2022-11-08T09:58:02.087" v="364"/>
        <pc:sldMkLst>
          <pc:docMk/>
          <pc:sldMk cId="1194193033" sldId="529"/>
        </pc:sldMkLst>
      </pc:sldChg>
      <pc:sldChg chg="addSp delSp modSp mod">
        <pc:chgData name="[Est - IMC] Canas Fernandez, Ian Gabriel" userId="a1ed0de2-49ac-4672-aa49-6f85f1448863" providerId="ADAL" clId="{7700A521-DC63-44E8-979F-90D016388E80}" dt="2022-11-08T09:54:34.933" v="354" actId="20577"/>
        <pc:sldMkLst>
          <pc:docMk/>
          <pc:sldMk cId="1607332293" sldId="530"/>
        </pc:sldMkLst>
        <pc:spChg chg="mod">
          <ac:chgData name="[Est - IMC] Canas Fernandez, Ian Gabriel" userId="a1ed0de2-49ac-4672-aa49-6f85f1448863" providerId="ADAL" clId="{7700A521-DC63-44E8-979F-90D016388E80}" dt="2022-11-08T09:54:34.933" v="354" actId="20577"/>
          <ac:spMkLst>
            <pc:docMk/>
            <pc:sldMk cId="1607332293" sldId="530"/>
            <ac:spMk id="10" creationId="{35C0BDCB-E046-0211-F150-65900FB8506C}"/>
          </ac:spMkLst>
        </pc:spChg>
        <pc:picChg chg="add del">
          <ac:chgData name="[Est - IMC] Canas Fernandez, Ian Gabriel" userId="a1ed0de2-49ac-4672-aa49-6f85f1448863" providerId="ADAL" clId="{7700A521-DC63-44E8-979F-90D016388E80}" dt="2022-11-08T09:54:19.895" v="330" actId="478"/>
          <ac:picMkLst>
            <pc:docMk/>
            <pc:sldMk cId="1607332293" sldId="530"/>
            <ac:picMk id="8" creationId="{FD788492-5CA2-4734-94DE-E8DF7D86541D}"/>
          </ac:picMkLst>
        </pc:picChg>
      </pc:sldChg>
      <pc:sldChg chg="addSp delSp modSp add">
        <pc:chgData name="[Est - IMC] Canas Fernandez, Ian Gabriel" userId="a1ed0de2-49ac-4672-aa49-6f85f1448863" providerId="ADAL" clId="{7700A521-DC63-44E8-979F-90D016388E80}" dt="2022-11-08T06:07:03.379" v="136"/>
        <pc:sldMkLst>
          <pc:docMk/>
          <pc:sldMk cId="1534781797" sldId="531"/>
        </pc:sldMkLst>
        <pc:spChg chg="del">
          <ac:chgData name="[Est - IMC] Canas Fernandez, Ian Gabriel" userId="a1ed0de2-49ac-4672-aa49-6f85f1448863" providerId="ADAL" clId="{7700A521-DC63-44E8-979F-90D016388E80}" dt="2022-11-08T06:06:52.902" v="135" actId="478"/>
          <ac:spMkLst>
            <pc:docMk/>
            <pc:sldMk cId="1534781797" sldId="531"/>
            <ac:spMk id="7" creationId="{42B2AC08-E348-B76B-E2CA-B2BE6055190A}"/>
          </ac:spMkLst>
        </pc:spChg>
        <pc:spChg chg="del">
          <ac:chgData name="[Est - IMC] Canas Fernandez, Ian Gabriel" userId="a1ed0de2-49ac-4672-aa49-6f85f1448863" providerId="ADAL" clId="{7700A521-DC63-44E8-979F-90D016388E80}" dt="2022-11-08T06:06:52.902" v="135" actId="478"/>
          <ac:spMkLst>
            <pc:docMk/>
            <pc:sldMk cId="1534781797" sldId="531"/>
            <ac:spMk id="9" creationId="{C13ADE49-0A43-75D6-B183-5D2FB8507544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7:03.379" v="136"/>
          <ac:spMkLst>
            <pc:docMk/>
            <pc:sldMk cId="1534781797" sldId="531"/>
            <ac:spMk id="12" creationId="{BE1E73B7-1D1F-8542-E164-ADC054747836}"/>
          </ac:spMkLst>
        </pc:spChg>
        <pc:picChg chg="del">
          <ac:chgData name="[Est - IMC] Canas Fernandez, Ian Gabriel" userId="a1ed0de2-49ac-4672-aa49-6f85f1448863" providerId="ADAL" clId="{7700A521-DC63-44E8-979F-90D016388E80}" dt="2022-11-08T06:06:52.902" v="135" actId="478"/>
          <ac:picMkLst>
            <pc:docMk/>
            <pc:sldMk cId="1534781797" sldId="531"/>
            <ac:picMk id="4" creationId="{F74A0F31-C23B-4898-D6E8-123875CF4046}"/>
          </ac:picMkLst>
        </pc:picChg>
        <pc:picChg chg="del">
          <ac:chgData name="[Est - IMC] Canas Fernandez, Ian Gabriel" userId="a1ed0de2-49ac-4672-aa49-6f85f1448863" providerId="ADAL" clId="{7700A521-DC63-44E8-979F-90D016388E80}" dt="2022-11-08T06:06:52.902" v="135" actId="478"/>
          <ac:picMkLst>
            <pc:docMk/>
            <pc:sldMk cId="1534781797" sldId="531"/>
            <ac:picMk id="8" creationId="{B9146D90-A66C-F20C-C778-C8526A4D820B}"/>
          </ac:picMkLst>
        </pc:picChg>
        <pc:picChg chg="add mod">
          <ac:chgData name="[Est - IMC] Canas Fernandez, Ian Gabriel" userId="a1ed0de2-49ac-4672-aa49-6f85f1448863" providerId="ADAL" clId="{7700A521-DC63-44E8-979F-90D016388E80}" dt="2022-11-08T06:07:03.379" v="136"/>
          <ac:picMkLst>
            <pc:docMk/>
            <pc:sldMk cId="1534781797" sldId="531"/>
            <ac:picMk id="10" creationId="{3765CE38-77BF-244E-4659-148E0F4EEE81}"/>
          </ac:picMkLst>
        </pc:picChg>
      </pc:sldChg>
      <pc:sldChg chg="addSp delSp modSp add mod">
        <pc:chgData name="[Est - IMC] Canas Fernandez, Ian Gabriel" userId="a1ed0de2-49ac-4672-aa49-6f85f1448863" providerId="ADAL" clId="{7700A521-DC63-44E8-979F-90D016388E80}" dt="2022-11-08T06:08:34.830" v="147"/>
        <pc:sldMkLst>
          <pc:docMk/>
          <pc:sldMk cId="4188500101" sldId="532"/>
        </pc:sldMkLst>
        <pc:spChg chg="mod">
          <ac:chgData name="[Est - IMC] Canas Fernandez, Ian Gabriel" userId="a1ed0de2-49ac-4672-aa49-6f85f1448863" providerId="ADAL" clId="{7700A521-DC63-44E8-979F-90D016388E80}" dt="2022-11-08T06:08:25.325" v="145" actId="1076"/>
          <ac:spMkLst>
            <pc:docMk/>
            <pc:sldMk cId="4188500101" sldId="532"/>
            <ac:spMk id="2" creationId="{00000000-0000-0000-0000-000000000000}"/>
          </ac:spMkLst>
        </pc:spChg>
        <pc:spChg chg="del">
          <ac:chgData name="[Est - IMC] Canas Fernandez, Ian Gabriel" userId="a1ed0de2-49ac-4672-aa49-6f85f1448863" providerId="ADAL" clId="{7700A521-DC63-44E8-979F-90D016388E80}" dt="2022-11-08T06:08:28.610" v="146" actId="478"/>
          <ac:spMkLst>
            <pc:docMk/>
            <pc:sldMk cId="4188500101" sldId="532"/>
            <ac:spMk id="8" creationId="{11EBC475-9E06-D5BD-85AB-59CC99602CAA}"/>
          </ac:spMkLst>
        </pc:spChg>
        <pc:spChg chg="del">
          <ac:chgData name="[Est - IMC] Canas Fernandez, Ian Gabriel" userId="a1ed0de2-49ac-4672-aa49-6f85f1448863" providerId="ADAL" clId="{7700A521-DC63-44E8-979F-90D016388E80}" dt="2022-11-08T06:08:28.610" v="146" actId="478"/>
          <ac:spMkLst>
            <pc:docMk/>
            <pc:sldMk cId="4188500101" sldId="532"/>
            <ac:spMk id="9" creationId="{1A66B19F-CD3C-BAFE-0262-78068E89B66D}"/>
          </ac:spMkLst>
        </pc:spChg>
        <pc:spChg chg="del">
          <ac:chgData name="[Est - IMC] Canas Fernandez, Ian Gabriel" userId="a1ed0de2-49ac-4672-aa49-6f85f1448863" providerId="ADAL" clId="{7700A521-DC63-44E8-979F-90D016388E80}" dt="2022-11-08T06:08:28.610" v="146" actId="478"/>
          <ac:spMkLst>
            <pc:docMk/>
            <pc:sldMk cId="4188500101" sldId="532"/>
            <ac:spMk id="12" creationId="{0487039E-6D8F-C97A-3D4D-CBB259C7D45E}"/>
          </ac:spMkLst>
        </pc:spChg>
        <pc:spChg chg="del">
          <ac:chgData name="[Est - IMC] Canas Fernandez, Ian Gabriel" userId="a1ed0de2-49ac-4672-aa49-6f85f1448863" providerId="ADAL" clId="{7700A521-DC63-44E8-979F-90D016388E80}" dt="2022-11-08T06:08:28.610" v="146" actId="478"/>
          <ac:spMkLst>
            <pc:docMk/>
            <pc:sldMk cId="4188500101" sldId="532"/>
            <ac:spMk id="13" creationId="{2EC1C093-A7E3-DD9B-D44B-A13504A25D38}"/>
          </ac:spMkLst>
        </pc:spChg>
        <pc:spChg chg="del">
          <ac:chgData name="[Est - IMC] Canas Fernandez, Ian Gabriel" userId="a1ed0de2-49ac-4672-aa49-6f85f1448863" providerId="ADAL" clId="{7700A521-DC63-44E8-979F-90D016388E80}" dt="2022-11-08T06:08:28.610" v="146" actId="478"/>
          <ac:spMkLst>
            <pc:docMk/>
            <pc:sldMk cId="4188500101" sldId="532"/>
            <ac:spMk id="14" creationId="{A8AE5FAC-ED49-3AED-C171-78945E0B7C17}"/>
          </ac:spMkLst>
        </pc:spChg>
        <pc:spChg chg="del">
          <ac:chgData name="[Est - IMC] Canas Fernandez, Ian Gabriel" userId="a1ed0de2-49ac-4672-aa49-6f85f1448863" providerId="ADAL" clId="{7700A521-DC63-44E8-979F-90D016388E80}" dt="2022-11-08T06:08:28.610" v="146" actId="478"/>
          <ac:spMkLst>
            <pc:docMk/>
            <pc:sldMk cId="4188500101" sldId="532"/>
            <ac:spMk id="15" creationId="{2C3E8E5E-69F9-17E7-D989-F1EE6A7E7854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8:34.830" v="147"/>
          <ac:spMkLst>
            <pc:docMk/>
            <pc:sldMk cId="4188500101" sldId="532"/>
            <ac:spMk id="17" creationId="{B5386835-7B93-0204-371C-A8A7EE7287D9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8:34.830" v="147"/>
          <ac:spMkLst>
            <pc:docMk/>
            <pc:sldMk cId="4188500101" sldId="532"/>
            <ac:spMk id="18" creationId="{A67BBF6E-67C4-88B3-4467-2E0315618AF1}"/>
          </ac:spMkLst>
        </pc:spChg>
        <pc:picChg chg="del">
          <ac:chgData name="[Est - IMC] Canas Fernandez, Ian Gabriel" userId="a1ed0de2-49ac-4672-aa49-6f85f1448863" providerId="ADAL" clId="{7700A521-DC63-44E8-979F-90D016388E80}" dt="2022-11-08T06:08:28.610" v="146" actId="478"/>
          <ac:picMkLst>
            <pc:docMk/>
            <pc:sldMk cId="4188500101" sldId="532"/>
            <ac:picMk id="4" creationId="{57BFD955-2BD3-F98F-506E-C27507755B49}"/>
          </ac:picMkLst>
        </pc:picChg>
        <pc:picChg chg="del">
          <ac:chgData name="[Est - IMC] Canas Fernandez, Ian Gabriel" userId="a1ed0de2-49ac-4672-aa49-6f85f1448863" providerId="ADAL" clId="{7700A521-DC63-44E8-979F-90D016388E80}" dt="2022-11-08T06:08:28.610" v="146" actId="478"/>
          <ac:picMkLst>
            <pc:docMk/>
            <pc:sldMk cId="4188500101" sldId="532"/>
            <ac:picMk id="7" creationId="{4AAB1F56-B69B-057A-659F-F4F4565DCF93}"/>
          </ac:picMkLst>
        </pc:picChg>
        <pc:picChg chg="add mod">
          <ac:chgData name="[Est - IMC] Canas Fernandez, Ian Gabriel" userId="a1ed0de2-49ac-4672-aa49-6f85f1448863" providerId="ADAL" clId="{7700A521-DC63-44E8-979F-90D016388E80}" dt="2022-11-08T06:08:34.830" v="147"/>
          <ac:picMkLst>
            <pc:docMk/>
            <pc:sldMk cId="4188500101" sldId="532"/>
            <ac:picMk id="10" creationId="{DB90B48B-47AD-D009-E0FE-383E06AE0F9A}"/>
          </ac:picMkLst>
        </pc:picChg>
        <pc:picChg chg="add mod">
          <ac:chgData name="[Est - IMC] Canas Fernandez, Ian Gabriel" userId="a1ed0de2-49ac-4672-aa49-6f85f1448863" providerId="ADAL" clId="{7700A521-DC63-44E8-979F-90D016388E80}" dt="2022-11-08T06:08:34.830" v="147"/>
          <ac:picMkLst>
            <pc:docMk/>
            <pc:sldMk cId="4188500101" sldId="532"/>
            <ac:picMk id="16" creationId="{A7E7B293-F8B2-038E-2BD8-E7B3C9D75B2B}"/>
          </ac:picMkLst>
        </pc:picChg>
      </pc:sldChg>
      <pc:sldChg chg="addSp delSp modSp add mod">
        <pc:chgData name="[Est - IMC] Canas Fernandez, Ian Gabriel" userId="a1ed0de2-49ac-4672-aa49-6f85f1448863" providerId="ADAL" clId="{7700A521-DC63-44E8-979F-90D016388E80}" dt="2022-11-08T06:08:54.652" v="150"/>
        <pc:sldMkLst>
          <pc:docMk/>
          <pc:sldMk cId="1688056330" sldId="533"/>
        </pc:sldMkLst>
        <pc:spChg chg="add mod">
          <ac:chgData name="[Est - IMC] Canas Fernandez, Ian Gabriel" userId="a1ed0de2-49ac-4672-aa49-6f85f1448863" providerId="ADAL" clId="{7700A521-DC63-44E8-979F-90D016388E80}" dt="2022-11-08T06:08:54.652" v="150"/>
          <ac:spMkLst>
            <pc:docMk/>
            <pc:sldMk cId="1688056330" sldId="533"/>
            <ac:spMk id="4" creationId="{326E0433-7225-258C-ED29-EEB0FC255F2A}"/>
          </ac:spMkLst>
        </pc:spChg>
        <pc:spChg chg="del">
          <ac:chgData name="[Est - IMC] Canas Fernandez, Ian Gabriel" userId="a1ed0de2-49ac-4672-aa49-6f85f1448863" providerId="ADAL" clId="{7700A521-DC63-44E8-979F-90D016388E80}" dt="2022-11-08T06:08:50.665" v="149" actId="478"/>
          <ac:spMkLst>
            <pc:docMk/>
            <pc:sldMk cId="1688056330" sldId="533"/>
            <ac:spMk id="17" creationId="{B5386835-7B93-0204-371C-A8A7EE7287D9}"/>
          </ac:spMkLst>
        </pc:spChg>
        <pc:spChg chg="del">
          <ac:chgData name="[Est - IMC] Canas Fernandez, Ian Gabriel" userId="a1ed0de2-49ac-4672-aa49-6f85f1448863" providerId="ADAL" clId="{7700A521-DC63-44E8-979F-90D016388E80}" dt="2022-11-08T06:08:50.665" v="149" actId="478"/>
          <ac:spMkLst>
            <pc:docMk/>
            <pc:sldMk cId="1688056330" sldId="533"/>
            <ac:spMk id="18" creationId="{A67BBF6E-67C4-88B3-4467-2E0315618AF1}"/>
          </ac:spMkLst>
        </pc:spChg>
        <pc:picChg chg="add mod">
          <ac:chgData name="[Est - IMC] Canas Fernandez, Ian Gabriel" userId="a1ed0de2-49ac-4672-aa49-6f85f1448863" providerId="ADAL" clId="{7700A521-DC63-44E8-979F-90D016388E80}" dt="2022-11-08T06:08:54.652" v="150"/>
          <ac:picMkLst>
            <pc:docMk/>
            <pc:sldMk cId="1688056330" sldId="533"/>
            <ac:picMk id="7" creationId="{4DFB33B3-44D1-2D70-F458-2DBE8E5322F2}"/>
          </ac:picMkLst>
        </pc:picChg>
        <pc:picChg chg="del">
          <ac:chgData name="[Est - IMC] Canas Fernandez, Ian Gabriel" userId="a1ed0de2-49ac-4672-aa49-6f85f1448863" providerId="ADAL" clId="{7700A521-DC63-44E8-979F-90D016388E80}" dt="2022-11-08T06:08:50.665" v="149" actId="478"/>
          <ac:picMkLst>
            <pc:docMk/>
            <pc:sldMk cId="1688056330" sldId="533"/>
            <ac:picMk id="10" creationId="{DB90B48B-47AD-D009-E0FE-383E06AE0F9A}"/>
          </ac:picMkLst>
        </pc:picChg>
        <pc:picChg chg="del">
          <ac:chgData name="[Est - IMC] Canas Fernandez, Ian Gabriel" userId="a1ed0de2-49ac-4672-aa49-6f85f1448863" providerId="ADAL" clId="{7700A521-DC63-44E8-979F-90D016388E80}" dt="2022-11-08T06:08:50.665" v="149" actId="478"/>
          <ac:picMkLst>
            <pc:docMk/>
            <pc:sldMk cId="1688056330" sldId="533"/>
            <ac:picMk id="16" creationId="{A7E7B293-F8B2-038E-2BD8-E7B3C9D75B2B}"/>
          </ac:picMkLst>
        </pc:picChg>
      </pc:sldChg>
      <pc:sldChg chg="addSp delSp modSp add mod">
        <pc:chgData name="[Est - IMC] Canas Fernandez, Ian Gabriel" userId="a1ed0de2-49ac-4672-aa49-6f85f1448863" providerId="ADAL" clId="{7700A521-DC63-44E8-979F-90D016388E80}" dt="2022-11-08T06:10:22.416" v="163"/>
        <pc:sldMkLst>
          <pc:docMk/>
          <pc:sldMk cId="4281791507" sldId="534"/>
        </pc:sldMkLst>
        <pc:spChg chg="del">
          <ac:chgData name="[Est - IMC] Canas Fernandez, Ian Gabriel" userId="a1ed0de2-49ac-4672-aa49-6f85f1448863" providerId="ADAL" clId="{7700A521-DC63-44E8-979F-90D016388E80}" dt="2022-11-08T06:09:57.148" v="158" actId="478"/>
          <ac:spMkLst>
            <pc:docMk/>
            <pc:sldMk cId="4281791507" sldId="534"/>
            <ac:spMk id="8" creationId="{62E971D5-4D08-3050-D52E-2F48E010EBA7}"/>
          </ac:spMkLst>
        </pc:spChg>
        <pc:spChg chg="del">
          <ac:chgData name="[Est - IMC] Canas Fernandez, Ian Gabriel" userId="a1ed0de2-49ac-4672-aa49-6f85f1448863" providerId="ADAL" clId="{7700A521-DC63-44E8-979F-90D016388E80}" dt="2022-11-08T06:09:57.148" v="158" actId="478"/>
          <ac:spMkLst>
            <pc:docMk/>
            <pc:sldMk cId="4281791507" sldId="534"/>
            <ac:spMk id="9" creationId="{7A0C6FD1-8E9A-2F9D-3964-19E104269DB2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9:58.017" v="159"/>
          <ac:spMkLst>
            <pc:docMk/>
            <pc:sldMk cId="4281791507" sldId="534"/>
            <ac:spMk id="14" creationId="{78129D94-8DB5-CE02-3BD8-4F59C50EBB4E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09:58.017" v="159"/>
          <ac:spMkLst>
            <pc:docMk/>
            <pc:sldMk cId="4281791507" sldId="534"/>
            <ac:spMk id="15" creationId="{8C6EB340-4B12-DA51-89CC-89ECFFEE42C5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10:22.416" v="163"/>
          <ac:spMkLst>
            <pc:docMk/>
            <pc:sldMk cId="4281791507" sldId="534"/>
            <ac:spMk id="16" creationId="{AFA545DD-1084-7CF3-3679-774F218429EB}"/>
          </ac:spMkLst>
        </pc:spChg>
        <pc:picChg chg="del">
          <ac:chgData name="[Est - IMC] Canas Fernandez, Ian Gabriel" userId="a1ed0de2-49ac-4672-aa49-6f85f1448863" providerId="ADAL" clId="{7700A521-DC63-44E8-979F-90D016388E80}" dt="2022-11-08T06:09:57.148" v="158" actId="478"/>
          <ac:picMkLst>
            <pc:docMk/>
            <pc:sldMk cId="4281791507" sldId="534"/>
            <ac:picMk id="4" creationId="{E9C977A8-D2CF-AA57-499F-914982190DDE}"/>
          </ac:picMkLst>
        </pc:picChg>
        <pc:picChg chg="del">
          <ac:chgData name="[Est - IMC] Canas Fernandez, Ian Gabriel" userId="a1ed0de2-49ac-4672-aa49-6f85f1448863" providerId="ADAL" clId="{7700A521-DC63-44E8-979F-90D016388E80}" dt="2022-11-08T06:09:57.148" v="158" actId="478"/>
          <ac:picMkLst>
            <pc:docMk/>
            <pc:sldMk cId="4281791507" sldId="534"/>
            <ac:picMk id="7" creationId="{1EDB880D-5BB2-31BE-B19C-DBF430464075}"/>
          </ac:picMkLst>
        </pc:picChg>
        <pc:picChg chg="add mod">
          <ac:chgData name="[Est - IMC] Canas Fernandez, Ian Gabriel" userId="a1ed0de2-49ac-4672-aa49-6f85f1448863" providerId="ADAL" clId="{7700A521-DC63-44E8-979F-90D016388E80}" dt="2022-11-08T06:09:58.017" v="159"/>
          <ac:picMkLst>
            <pc:docMk/>
            <pc:sldMk cId="4281791507" sldId="534"/>
            <ac:picMk id="10" creationId="{338F8407-23D6-DD92-6E49-0D037D081E67}"/>
          </ac:picMkLst>
        </pc:picChg>
        <pc:picChg chg="add mod">
          <ac:chgData name="[Est - IMC] Canas Fernandez, Ian Gabriel" userId="a1ed0de2-49ac-4672-aa49-6f85f1448863" providerId="ADAL" clId="{7700A521-DC63-44E8-979F-90D016388E80}" dt="2022-11-08T06:09:58.017" v="159"/>
          <ac:picMkLst>
            <pc:docMk/>
            <pc:sldMk cId="4281791507" sldId="534"/>
            <ac:picMk id="12" creationId="{DAA185E9-E9BA-1DA4-F1E3-F409CB4CBDB7}"/>
          </ac:picMkLst>
        </pc:picChg>
        <pc:picChg chg="add mod">
          <ac:chgData name="[Est - IMC] Canas Fernandez, Ian Gabriel" userId="a1ed0de2-49ac-4672-aa49-6f85f1448863" providerId="ADAL" clId="{7700A521-DC63-44E8-979F-90D016388E80}" dt="2022-11-08T06:09:58.017" v="159"/>
          <ac:picMkLst>
            <pc:docMk/>
            <pc:sldMk cId="4281791507" sldId="534"/>
            <ac:picMk id="13" creationId="{05EA304F-D185-5433-BB01-F03D4BA1B9D8}"/>
          </ac:picMkLst>
        </pc:picChg>
      </pc:sldChg>
      <pc:sldChg chg="addSp delSp modSp add mod">
        <pc:chgData name="[Est - IMC] Canas Fernandez, Ian Gabriel" userId="a1ed0de2-49ac-4672-aa49-6f85f1448863" providerId="ADAL" clId="{7700A521-DC63-44E8-979F-90D016388E80}" dt="2022-11-08T06:10:12.576" v="162"/>
        <pc:sldMkLst>
          <pc:docMk/>
          <pc:sldMk cId="29980725" sldId="535"/>
        </pc:sldMkLst>
        <pc:spChg chg="add mod">
          <ac:chgData name="[Est - IMC] Canas Fernandez, Ian Gabriel" userId="a1ed0de2-49ac-4672-aa49-6f85f1448863" providerId="ADAL" clId="{7700A521-DC63-44E8-979F-90D016388E80}" dt="2022-11-08T06:10:12.576" v="162"/>
          <ac:spMkLst>
            <pc:docMk/>
            <pc:sldMk cId="29980725" sldId="535"/>
            <ac:spMk id="4" creationId="{6E7BE639-BDD2-1015-5053-7DA57E34FA04}"/>
          </ac:spMkLst>
        </pc:spChg>
        <pc:spChg chg="add mod">
          <ac:chgData name="[Est - IMC] Canas Fernandez, Ian Gabriel" userId="a1ed0de2-49ac-4672-aa49-6f85f1448863" providerId="ADAL" clId="{7700A521-DC63-44E8-979F-90D016388E80}" dt="2022-11-08T06:10:12.576" v="162"/>
          <ac:spMkLst>
            <pc:docMk/>
            <pc:sldMk cId="29980725" sldId="535"/>
            <ac:spMk id="9" creationId="{30BB6E30-AC66-44EB-26F5-F9CB1807F006}"/>
          </ac:spMkLst>
        </pc:spChg>
        <pc:spChg chg="del">
          <ac:chgData name="[Est - IMC] Canas Fernandez, Ian Gabriel" userId="a1ed0de2-49ac-4672-aa49-6f85f1448863" providerId="ADAL" clId="{7700A521-DC63-44E8-979F-90D016388E80}" dt="2022-11-08T06:10:11.629" v="161" actId="478"/>
          <ac:spMkLst>
            <pc:docMk/>
            <pc:sldMk cId="29980725" sldId="535"/>
            <ac:spMk id="14" creationId="{78129D94-8DB5-CE02-3BD8-4F59C50EBB4E}"/>
          </ac:spMkLst>
        </pc:spChg>
        <pc:spChg chg="del">
          <ac:chgData name="[Est - IMC] Canas Fernandez, Ian Gabriel" userId="a1ed0de2-49ac-4672-aa49-6f85f1448863" providerId="ADAL" clId="{7700A521-DC63-44E8-979F-90D016388E80}" dt="2022-11-08T06:10:11.629" v="161" actId="478"/>
          <ac:spMkLst>
            <pc:docMk/>
            <pc:sldMk cId="29980725" sldId="535"/>
            <ac:spMk id="15" creationId="{8C6EB340-4B12-DA51-89CC-89ECFFEE42C5}"/>
          </ac:spMkLst>
        </pc:spChg>
        <pc:picChg chg="add mod">
          <ac:chgData name="[Est - IMC] Canas Fernandez, Ian Gabriel" userId="a1ed0de2-49ac-4672-aa49-6f85f1448863" providerId="ADAL" clId="{7700A521-DC63-44E8-979F-90D016388E80}" dt="2022-11-08T06:10:12.576" v="162"/>
          <ac:picMkLst>
            <pc:docMk/>
            <pc:sldMk cId="29980725" sldId="535"/>
            <ac:picMk id="7" creationId="{A645E501-F21A-B078-9F83-F8B932220F3D}"/>
          </ac:picMkLst>
        </pc:picChg>
        <pc:picChg chg="add mod">
          <ac:chgData name="[Est - IMC] Canas Fernandez, Ian Gabriel" userId="a1ed0de2-49ac-4672-aa49-6f85f1448863" providerId="ADAL" clId="{7700A521-DC63-44E8-979F-90D016388E80}" dt="2022-11-08T06:10:12.576" v="162"/>
          <ac:picMkLst>
            <pc:docMk/>
            <pc:sldMk cId="29980725" sldId="535"/>
            <ac:picMk id="8" creationId="{CAFCCFE2-9DDA-CF66-B925-D5B3E033B988}"/>
          </ac:picMkLst>
        </pc:picChg>
        <pc:picChg chg="del">
          <ac:chgData name="[Est - IMC] Canas Fernandez, Ian Gabriel" userId="a1ed0de2-49ac-4672-aa49-6f85f1448863" providerId="ADAL" clId="{7700A521-DC63-44E8-979F-90D016388E80}" dt="2022-11-08T06:10:11.629" v="161" actId="478"/>
          <ac:picMkLst>
            <pc:docMk/>
            <pc:sldMk cId="29980725" sldId="535"/>
            <ac:picMk id="10" creationId="{338F8407-23D6-DD92-6E49-0D037D081E67}"/>
          </ac:picMkLst>
        </pc:picChg>
        <pc:picChg chg="del">
          <ac:chgData name="[Est - IMC] Canas Fernandez, Ian Gabriel" userId="a1ed0de2-49ac-4672-aa49-6f85f1448863" providerId="ADAL" clId="{7700A521-DC63-44E8-979F-90D016388E80}" dt="2022-11-08T06:10:11.629" v="161" actId="478"/>
          <ac:picMkLst>
            <pc:docMk/>
            <pc:sldMk cId="29980725" sldId="535"/>
            <ac:picMk id="12" creationId="{DAA185E9-E9BA-1DA4-F1E3-F409CB4CBDB7}"/>
          </ac:picMkLst>
        </pc:picChg>
        <pc:picChg chg="del">
          <ac:chgData name="[Est - IMC] Canas Fernandez, Ian Gabriel" userId="a1ed0de2-49ac-4672-aa49-6f85f1448863" providerId="ADAL" clId="{7700A521-DC63-44E8-979F-90D016388E80}" dt="2022-11-08T06:10:11.629" v="161" actId="478"/>
          <ac:picMkLst>
            <pc:docMk/>
            <pc:sldMk cId="29980725" sldId="535"/>
            <ac:picMk id="13" creationId="{05EA304F-D185-5433-BB01-F03D4BA1B9D8}"/>
          </ac:picMkLst>
        </pc:picChg>
      </pc:sldChg>
      <pc:sldChg chg="new ord">
        <pc:chgData name="[Est - IMC] Canas Fernandez, Ian Gabriel" userId="a1ed0de2-49ac-4672-aa49-6f85f1448863" providerId="ADAL" clId="{7700A521-DC63-44E8-979F-90D016388E80}" dt="2022-11-08T09:50:08.432" v="310"/>
        <pc:sldMkLst>
          <pc:docMk/>
          <pc:sldMk cId="2253909879" sldId="536"/>
        </pc:sldMkLst>
      </pc:sldChg>
      <pc:sldChg chg="add">
        <pc:chgData name="[Est - IMC] Canas Fernandez, Ian Gabriel" userId="a1ed0de2-49ac-4672-aa49-6f85f1448863" providerId="ADAL" clId="{7700A521-DC63-44E8-979F-90D016388E80}" dt="2022-11-08T09:53:49.880" v="324"/>
        <pc:sldMkLst>
          <pc:docMk/>
          <pc:sldMk cId="3771945925" sldId="537"/>
        </pc:sldMkLst>
      </pc:sldChg>
    </pc:docChg>
  </pc:docChgLst>
  <pc:docChgLst>
    <pc:chgData name="[Est - IMC] Canas Fernandez, Ian Gabriel" userId="a1ed0de2-49ac-4672-aa49-6f85f1448863" providerId="ADAL" clId="{AEE00A54-60D1-4B57-88ED-F36945FDA22E}"/>
    <pc:docChg chg="custSel delSld modSld">
      <pc:chgData name="[Est - IMC] Canas Fernandez, Ian Gabriel" userId="a1ed0de2-49ac-4672-aa49-6f85f1448863" providerId="ADAL" clId="{AEE00A54-60D1-4B57-88ED-F36945FDA22E}" dt="2023-05-11T20:24:51.822" v="78" actId="1076"/>
      <pc:docMkLst>
        <pc:docMk/>
      </pc:docMkLst>
      <pc:sldChg chg="modSp mod">
        <pc:chgData name="[Est - IMC] Canas Fernandez, Ian Gabriel" userId="a1ed0de2-49ac-4672-aa49-6f85f1448863" providerId="ADAL" clId="{AEE00A54-60D1-4B57-88ED-F36945FDA22E}" dt="2023-05-11T20:15:58.876" v="29" actId="20577"/>
        <pc:sldMkLst>
          <pc:docMk/>
          <pc:sldMk cId="0" sldId="303"/>
        </pc:sldMkLst>
        <pc:spChg chg="mod">
          <ac:chgData name="[Est - IMC] Canas Fernandez, Ian Gabriel" userId="a1ed0de2-49ac-4672-aa49-6f85f1448863" providerId="ADAL" clId="{AEE00A54-60D1-4B57-88ED-F36945FDA22E}" dt="2023-05-11T20:15:58.876" v="29" actId="20577"/>
          <ac:spMkLst>
            <pc:docMk/>
            <pc:sldMk cId="0" sldId="303"/>
            <ac:spMk id="161" creationId="{00000000-0000-0000-0000-000000000000}"/>
          </ac:spMkLst>
        </pc:spChg>
      </pc:sldChg>
      <pc:sldChg chg="modSp mod">
        <pc:chgData name="[Est - IMC] Canas Fernandez, Ian Gabriel" userId="a1ed0de2-49ac-4672-aa49-6f85f1448863" providerId="ADAL" clId="{AEE00A54-60D1-4B57-88ED-F36945FDA22E}" dt="2023-05-11T20:11:55.306" v="17" actId="20577"/>
        <pc:sldMkLst>
          <pc:docMk/>
          <pc:sldMk cId="261019471" sldId="385"/>
        </pc:sldMkLst>
        <pc:spChg chg="mod">
          <ac:chgData name="[Est - IMC] Canas Fernandez, Ian Gabriel" userId="a1ed0de2-49ac-4672-aa49-6f85f1448863" providerId="ADAL" clId="{AEE00A54-60D1-4B57-88ED-F36945FDA22E}" dt="2023-05-11T20:11:55.306" v="17" actId="20577"/>
          <ac:spMkLst>
            <pc:docMk/>
            <pc:sldMk cId="261019471" sldId="385"/>
            <ac:spMk id="10" creationId="{CB9D7D9B-8592-4BDE-A3EF-B81310A95A92}"/>
          </ac:spMkLst>
        </pc:spChg>
      </pc:sldChg>
      <pc:sldChg chg="addSp delSp modSp mod">
        <pc:chgData name="[Est - IMC] Canas Fernandez, Ian Gabriel" userId="a1ed0de2-49ac-4672-aa49-6f85f1448863" providerId="ADAL" clId="{AEE00A54-60D1-4B57-88ED-F36945FDA22E}" dt="2023-05-11T20:13:53.813" v="26" actId="1076"/>
        <pc:sldMkLst>
          <pc:docMk/>
          <pc:sldMk cId="3446891795" sldId="513"/>
        </pc:sldMkLst>
        <pc:picChg chg="del">
          <ac:chgData name="[Est - IMC] Canas Fernandez, Ian Gabriel" userId="a1ed0de2-49ac-4672-aa49-6f85f1448863" providerId="ADAL" clId="{AEE00A54-60D1-4B57-88ED-F36945FDA22E}" dt="2023-05-11T20:12:39.559" v="23" actId="478"/>
          <ac:picMkLst>
            <pc:docMk/>
            <pc:sldMk cId="3446891795" sldId="513"/>
            <ac:picMk id="4" creationId="{DBE6B38F-5199-D775-D230-7AE89E3D7DDF}"/>
          </ac:picMkLst>
        </pc:picChg>
        <pc:picChg chg="add mod">
          <ac:chgData name="[Est - IMC] Canas Fernandez, Ian Gabriel" userId="a1ed0de2-49ac-4672-aa49-6f85f1448863" providerId="ADAL" clId="{AEE00A54-60D1-4B57-88ED-F36945FDA22E}" dt="2023-05-11T20:13:53.813" v="26" actId="1076"/>
          <ac:picMkLst>
            <pc:docMk/>
            <pc:sldMk cId="3446891795" sldId="513"/>
            <ac:picMk id="7" creationId="{94026EB1-BD77-62A9-7378-7B3101157710}"/>
          </ac:picMkLst>
        </pc:picChg>
      </pc:sldChg>
      <pc:sldChg chg="addSp delSp modSp mod">
        <pc:chgData name="[Est - IMC] Canas Fernandez, Ian Gabriel" userId="a1ed0de2-49ac-4672-aa49-6f85f1448863" providerId="ADAL" clId="{AEE00A54-60D1-4B57-88ED-F36945FDA22E}" dt="2023-05-11T20:12:30.715" v="22" actId="1076"/>
        <pc:sldMkLst>
          <pc:docMk/>
          <pc:sldMk cId="929489489" sldId="519"/>
        </pc:sldMkLst>
        <pc:picChg chg="add mod">
          <ac:chgData name="[Est - IMC] Canas Fernandez, Ian Gabriel" userId="a1ed0de2-49ac-4672-aa49-6f85f1448863" providerId="ADAL" clId="{AEE00A54-60D1-4B57-88ED-F36945FDA22E}" dt="2023-05-11T20:12:22.879" v="20" actId="1076"/>
          <ac:picMkLst>
            <pc:docMk/>
            <pc:sldMk cId="929489489" sldId="519"/>
            <ac:picMk id="4" creationId="{38FA3DE1-C631-DC98-2AA3-D9C53B500AC6}"/>
          </ac:picMkLst>
        </pc:picChg>
        <pc:picChg chg="add mod">
          <ac:chgData name="[Est - IMC] Canas Fernandez, Ian Gabriel" userId="a1ed0de2-49ac-4672-aa49-6f85f1448863" providerId="ADAL" clId="{AEE00A54-60D1-4B57-88ED-F36945FDA22E}" dt="2023-05-11T20:12:30.715" v="22" actId="1076"/>
          <ac:picMkLst>
            <pc:docMk/>
            <pc:sldMk cId="929489489" sldId="519"/>
            <ac:picMk id="7" creationId="{C4312BF1-0CB0-168B-4D84-4663049279F4}"/>
          </ac:picMkLst>
        </pc:picChg>
        <pc:picChg chg="del">
          <ac:chgData name="[Est - IMC] Canas Fernandez, Ian Gabriel" userId="a1ed0de2-49ac-4672-aa49-6f85f1448863" providerId="ADAL" clId="{AEE00A54-60D1-4B57-88ED-F36945FDA22E}" dt="2023-05-11T20:12:19.474" v="18" actId="478"/>
          <ac:picMkLst>
            <pc:docMk/>
            <pc:sldMk cId="929489489" sldId="519"/>
            <ac:picMk id="8" creationId="{6D6CBE0B-E601-58BF-96F2-2FA0EB85AF9B}"/>
          </ac:picMkLst>
        </pc:picChg>
      </pc:sldChg>
      <pc:sldChg chg="modSp mod">
        <pc:chgData name="[Est - IMC] Canas Fernandez, Ian Gabriel" userId="a1ed0de2-49ac-4672-aa49-6f85f1448863" providerId="ADAL" clId="{AEE00A54-60D1-4B57-88ED-F36945FDA22E}" dt="2023-05-11T20:17:55.255" v="48" actId="20577"/>
        <pc:sldMkLst>
          <pc:docMk/>
          <pc:sldMk cId="3771945925" sldId="537"/>
        </pc:sldMkLst>
        <pc:spChg chg="mod">
          <ac:chgData name="[Est - IMC] Canas Fernandez, Ian Gabriel" userId="a1ed0de2-49ac-4672-aa49-6f85f1448863" providerId="ADAL" clId="{AEE00A54-60D1-4B57-88ED-F36945FDA22E}" dt="2023-05-11T20:17:55.255" v="48" actId="20577"/>
          <ac:spMkLst>
            <pc:docMk/>
            <pc:sldMk cId="3771945925" sldId="537"/>
            <ac:spMk id="10" creationId="{CB9D7D9B-8592-4BDE-A3EF-B81310A95A92}"/>
          </ac:spMkLst>
        </pc:spChg>
      </pc:sldChg>
      <pc:sldChg chg="addSp delSp modSp mod">
        <pc:chgData name="[Est - IMC] Canas Fernandez, Ian Gabriel" userId="a1ed0de2-49ac-4672-aa49-6f85f1448863" providerId="ADAL" clId="{AEE00A54-60D1-4B57-88ED-F36945FDA22E}" dt="2023-05-11T20:24:51.822" v="78" actId="1076"/>
        <pc:sldMkLst>
          <pc:docMk/>
          <pc:sldMk cId="3445996025" sldId="539"/>
        </pc:sldMkLst>
        <pc:spChg chg="mod">
          <ac:chgData name="[Est - IMC] Canas Fernandez, Ian Gabriel" userId="a1ed0de2-49ac-4672-aa49-6f85f1448863" providerId="ADAL" clId="{AEE00A54-60D1-4B57-88ED-F36945FDA22E}" dt="2023-05-11T20:24:51.822" v="78" actId="1076"/>
          <ac:spMkLst>
            <pc:docMk/>
            <pc:sldMk cId="3445996025" sldId="539"/>
            <ac:spMk id="2" creationId="{5F2BCBCB-9CF1-F8F3-DE78-7D1251B2F8D0}"/>
          </ac:spMkLst>
        </pc:spChg>
        <pc:spChg chg="add del">
          <ac:chgData name="[Est - IMC] Canas Fernandez, Ian Gabriel" userId="a1ed0de2-49ac-4672-aa49-6f85f1448863" providerId="ADAL" clId="{AEE00A54-60D1-4B57-88ED-F36945FDA22E}" dt="2023-05-11T20:21:13.676" v="50"/>
          <ac:spMkLst>
            <pc:docMk/>
            <pc:sldMk cId="3445996025" sldId="539"/>
            <ac:spMk id="3" creationId="{064E3ECF-5719-B047-2705-C6B746930F4A}"/>
          </ac:spMkLst>
        </pc:spChg>
        <pc:spChg chg="add del">
          <ac:chgData name="[Est - IMC] Canas Fernandez, Ian Gabriel" userId="a1ed0de2-49ac-4672-aa49-6f85f1448863" providerId="ADAL" clId="{AEE00A54-60D1-4B57-88ED-F36945FDA22E}" dt="2023-05-11T20:21:31.074" v="57"/>
          <ac:spMkLst>
            <pc:docMk/>
            <pc:sldMk cId="3445996025" sldId="539"/>
            <ac:spMk id="6" creationId="{F4FCC3B7-1A92-0413-5080-C20A27521052}"/>
          </ac:spMkLst>
        </pc:spChg>
        <pc:spChg chg="add del">
          <ac:chgData name="[Est - IMC] Canas Fernandez, Ian Gabriel" userId="a1ed0de2-49ac-4672-aa49-6f85f1448863" providerId="ADAL" clId="{AEE00A54-60D1-4B57-88ED-F36945FDA22E}" dt="2023-05-11T20:21:53.031" v="65"/>
          <ac:spMkLst>
            <pc:docMk/>
            <pc:sldMk cId="3445996025" sldId="539"/>
            <ac:spMk id="8" creationId="{05B461B8-F5EB-C280-6350-A336A1C2FC02}"/>
          </ac:spMkLst>
        </pc:spChg>
        <pc:picChg chg="add mod ord">
          <ac:chgData name="[Est - IMC] Canas Fernandez, Ian Gabriel" userId="a1ed0de2-49ac-4672-aa49-6f85f1448863" providerId="ADAL" clId="{AEE00A54-60D1-4B57-88ED-F36945FDA22E}" dt="2023-05-11T20:24:20.440" v="73" actId="14100"/>
          <ac:picMkLst>
            <pc:docMk/>
            <pc:sldMk cId="3445996025" sldId="539"/>
            <ac:picMk id="5" creationId="{0A2231B8-3F7B-AA2C-1D5E-2D78625B6306}"/>
          </ac:picMkLst>
        </pc:picChg>
        <pc:picChg chg="del">
          <ac:chgData name="[Est - IMC] Canas Fernandez, Ian Gabriel" userId="a1ed0de2-49ac-4672-aa49-6f85f1448863" providerId="ADAL" clId="{AEE00A54-60D1-4B57-88ED-F36945FDA22E}" dt="2023-05-11T20:16:19.157" v="30" actId="478"/>
          <ac:picMkLst>
            <pc:docMk/>
            <pc:sldMk cId="3445996025" sldId="539"/>
            <ac:picMk id="6" creationId="{96B84A62-0F52-4B37-263E-6C4AADEF1494}"/>
          </ac:picMkLst>
        </pc:picChg>
        <pc:picChg chg="add mod ord">
          <ac:chgData name="[Est - IMC] Canas Fernandez, Ian Gabriel" userId="a1ed0de2-49ac-4672-aa49-6f85f1448863" providerId="ADAL" clId="{AEE00A54-60D1-4B57-88ED-F36945FDA22E}" dt="2023-05-11T20:24:42.369" v="76" actId="166"/>
          <ac:picMkLst>
            <pc:docMk/>
            <pc:sldMk cId="3445996025" sldId="539"/>
            <ac:picMk id="7" creationId="{BC5520FD-B763-7CA7-0433-0F820A467AD1}"/>
          </ac:picMkLst>
        </pc:picChg>
        <pc:picChg chg="del">
          <ac:chgData name="[Est - IMC] Canas Fernandez, Ian Gabriel" userId="a1ed0de2-49ac-4672-aa49-6f85f1448863" providerId="ADAL" clId="{AEE00A54-60D1-4B57-88ED-F36945FDA22E}" dt="2023-05-11T20:16:20.730" v="31" actId="478"/>
          <ac:picMkLst>
            <pc:docMk/>
            <pc:sldMk cId="3445996025" sldId="539"/>
            <ac:picMk id="8" creationId="{882DED8C-8B14-31B2-7248-D1AA16B9B216}"/>
          </ac:picMkLst>
        </pc:picChg>
        <pc:picChg chg="add mod">
          <ac:chgData name="[Est - IMC] Canas Fernandez, Ian Gabriel" userId="a1ed0de2-49ac-4672-aa49-6f85f1448863" providerId="ADAL" clId="{AEE00A54-60D1-4B57-88ED-F36945FDA22E}" dt="2023-05-11T20:22:01.883" v="70" actId="1076"/>
          <ac:picMkLst>
            <pc:docMk/>
            <pc:sldMk cId="3445996025" sldId="539"/>
            <ac:picMk id="9" creationId="{22D99A28-B893-DA46-28EC-B1532C87BDDF}"/>
          </ac:picMkLst>
        </pc:picChg>
      </pc:sldChg>
      <pc:sldChg chg="delSp del mod delAnim">
        <pc:chgData name="[Est - IMC] Canas Fernandez, Ian Gabriel" userId="a1ed0de2-49ac-4672-aa49-6f85f1448863" providerId="ADAL" clId="{AEE00A54-60D1-4B57-88ED-F36945FDA22E}" dt="2023-05-11T20:17:17.778" v="34" actId="2696"/>
        <pc:sldMkLst>
          <pc:docMk/>
          <pc:sldMk cId="100542289" sldId="541"/>
        </pc:sldMkLst>
        <pc:picChg chg="del">
          <ac:chgData name="[Est - IMC] Canas Fernandez, Ian Gabriel" userId="a1ed0de2-49ac-4672-aa49-6f85f1448863" providerId="ADAL" clId="{AEE00A54-60D1-4B57-88ED-F36945FDA22E}" dt="2023-05-11T20:16:58.099" v="33" actId="478"/>
          <ac:picMkLst>
            <pc:docMk/>
            <pc:sldMk cId="100542289" sldId="541"/>
            <ac:picMk id="3" creationId="{1A72D2A3-F223-5AA7-0FCB-A7929DDA8503}"/>
          </ac:picMkLst>
        </pc:picChg>
        <pc:picChg chg="del">
          <ac:chgData name="[Est - IMC] Canas Fernandez, Ian Gabriel" userId="a1ed0de2-49ac-4672-aa49-6f85f1448863" providerId="ADAL" clId="{AEE00A54-60D1-4B57-88ED-F36945FDA22E}" dt="2023-05-11T20:16:56.914" v="32" actId="478"/>
          <ac:picMkLst>
            <pc:docMk/>
            <pc:sldMk cId="100542289" sldId="541"/>
            <ac:picMk id="5" creationId="{FED2CEBC-4657-D3E4-DC69-E92988650B58}"/>
          </ac:picMkLst>
        </pc:picChg>
      </pc:sldChg>
      <pc:sldChg chg="del">
        <pc:chgData name="[Est - IMC] Canas Fernandez, Ian Gabriel" userId="a1ed0de2-49ac-4672-aa49-6f85f1448863" providerId="ADAL" clId="{AEE00A54-60D1-4B57-88ED-F36945FDA22E}" dt="2023-05-11T20:17:22.177" v="35" actId="2696"/>
        <pc:sldMkLst>
          <pc:docMk/>
          <pc:sldMk cId="2017801224" sldId="542"/>
        </pc:sldMkLst>
      </pc:sldChg>
    </pc:docChg>
  </pc:docChgLst>
  <pc:docChgLst>
    <pc:chgData name="[Est - IMC] Tejeda Iglesias, Samuel Olivier" userId="b73d292e-799f-4e94-a6db-c223d33fa677" providerId="ADAL" clId="{879C99AE-C1EE-43C9-A566-6280024015CE}"/>
    <pc:docChg chg="undo custSel delSld modSld">
      <pc:chgData name="[Est - IMC] Tejeda Iglesias, Samuel Olivier" userId="b73d292e-799f-4e94-a6db-c223d33fa677" providerId="ADAL" clId="{879C99AE-C1EE-43C9-A566-6280024015CE}" dt="2022-11-08T23:05:21.925" v="760" actId="729"/>
      <pc:docMkLst>
        <pc:docMk/>
      </pc:docMkLst>
      <pc:sldChg chg="addSp delSp modSp mod">
        <pc:chgData name="[Est - IMC] Tejeda Iglesias, Samuel Olivier" userId="b73d292e-799f-4e94-a6db-c223d33fa677" providerId="ADAL" clId="{879C99AE-C1EE-43C9-A566-6280024015CE}" dt="2022-11-08T22:52:07.387" v="759" actId="20577"/>
        <pc:sldMkLst>
          <pc:docMk/>
          <pc:sldMk cId="0" sldId="303"/>
        </pc:sldMkLst>
        <pc:spChg chg="add mod">
          <ac:chgData name="[Est - IMC] Tejeda Iglesias, Samuel Olivier" userId="b73d292e-799f-4e94-a6db-c223d33fa677" providerId="ADAL" clId="{879C99AE-C1EE-43C9-A566-6280024015CE}" dt="2022-11-08T19:43:29.240" v="481" actId="1076"/>
          <ac:spMkLst>
            <pc:docMk/>
            <pc:sldMk cId="0" sldId="303"/>
            <ac:spMk id="2" creationId="{DCED1C78-DDDE-8EA0-F0D8-D9D1392C4509}"/>
          </ac:spMkLst>
        </pc:spChg>
        <pc:spChg chg="mod">
          <ac:chgData name="[Est - IMC] Tejeda Iglesias, Samuel Olivier" userId="b73d292e-799f-4e94-a6db-c223d33fa677" providerId="ADAL" clId="{879C99AE-C1EE-43C9-A566-6280024015CE}" dt="2022-11-08T16:13:52.021" v="46" actId="20577"/>
          <ac:spMkLst>
            <pc:docMk/>
            <pc:sldMk cId="0" sldId="303"/>
            <ac:spMk id="51" creationId="{00000000-0000-0000-0000-000000000000}"/>
          </ac:spMkLst>
        </pc:spChg>
        <pc:spChg chg="mod">
          <ac:chgData name="[Est - IMC] Tejeda Iglesias, Samuel Olivier" userId="b73d292e-799f-4e94-a6db-c223d33fa677" providerId="ADAL" clId="{879C99AE-C1EE-43C9-A566-6280024015CE}" dt="2022-11-08T16:14:07.980" v="63" actId="20577"/>
          <ac:spMkLst>
            <pc:docMk/>
            <pc:sldMk cId="0" sldId="303"/>
            <ac:spMk id="52" creationId="{00000000-0000-0000-0000-000000000000}"/>
          </ac:spMkLst>
        </pc:spChg>
        <pc:spChg chg="del mod">
          <ac:chgData name="[Est - IMC] Tejeda Iglesias, Samuel Olivier" userId="b73d292e-799f-4e94-a6db-c223d33fa677" providerId="ADAL" clId="{879C99AE-C1EE-43C9-A566-6280024015CE}" dt="2022-11-08T16:18:13.977" v="416"/>
          <ac:spMkLst>
            <pc:docMk/>
            <pc:sldMk cId="0" sldId="303"/>
            <ac:spMk id="104" creationId="{13674223-0D6C-795C-01F1-013F1BFF7555}"/>
          </ac:spMkLst>
        </pc:spChg>
        <pc:spChg chg="mod">
          <ac:chgData name="[Est - IMC] Tejeda Iglesias, Samuel Olivier" userId="b73d292e-799f-4e94-a6db-c223d33fa677" providerId="ADAL" clId="{879C99AE-C1EE-43C9-A566-6280024015CE}" dt="2022-11-08T19:43:17.894" v="479" actId="14100"/>
          <ac:spMkLst>
            <pc:docMk/>
            <pc:sldMk cId="0" sldId="303"/>
            <ac:spMk id="105" creationId="{4432BAC7-A407-6B90-7C0A-5EF7FEE43958}"/>
          </ac:spMkLst>
        </pc:spChg>
        <pc:spChg chg="mod">
          <ac:chgData name="[Est - IMC] Tejeda Iglesias, Samuel Olivier" userId="b73d292e-799f-4e94-a6db-c223d33fa677" providerId="ADAL" clId="{879C99AE-C1EE-43C9-A566-6280024015CE}" dt="2022-11-08T19:42:11.396" v="478" actId="14100"/>
          <ac:spMkLst>
            <pc:docMk/>
            <pc:sldMk cId="0" sldId="303"/>
            <ac:spMk id="106" creationId="{00000000-0000-0000-0000-000000000000}"/>
          </ac:spMkLst>
        </pc:spChg>
        <pc:spChg chg="mod">
          <ac:chgData name="[Est - IMC] Tejeda Iglesias, Samuel Olivier" userId="b73d292e-799f-4e94-a6db-c223d33fa677" providerId="ADAL" clId="{879C99AE-C1EE-43C9-A566-6280024015CE}" dt="2022-11-08T22:51:59.101" v="757" actId="20577"/>
          <ac:spMkLst>
            <pc:docMk/>
            <pc:sldMk cId="0" sldId="303"/>
            <ac:spMk id="109" creationId="{DDD56A56-9F72-48C1-AA6D-DE16381E818A}"/>
          </ac:spMkLst>
        </pc:spChg>
        <pc:spChg chg="mod">
          <ac:chgData name="[Est - IMC] Tejeda Iglesias, Samuel Olivier" userId="b73d292e-799f-4e94-a6db-c223d33fa677" providerId="ADAL" clId="{879C99AE-C1EE-43C9-A566-6280024015CE}" dt="2022-11-08T16:18:03.089" v="411" actId="14100"/>
          <ac:spMkLst>
            <pc:docMk/>
            <pc:sldMk cId="0" sldId="303"/>
            <ac:spMk id="112" creationId="{00000000-0000-0000-0000-000000000000}"/>
          </ac:spMkLst>
        </pc:spChg>
        <pc:spChg chg="mod">
          <ac:chgData name="[Est - IMC] Tejeda Iglesias, Samuel Olivier" userId="b73d292e-799f-4e94-a6db-c223d33fa677" providerId="ADAL" clId="{879C99AE-C1EE-43C9-A566-6280024015CE}" dt="2022-11-08T16:19:32.640" v="474" actId="20577"/>
          <ac:spMkLst>
            <pc:docMk/>
            <pc:sldMk cId="0" sldId="303"/>
            <ac:spMk id="132" creationId="{00000000-0000-0000-0000-000000000000}"/>
          </ac:spMkLst>
        </pc:spChg>
        <pc:spChg chg="mod">
          <ac:chgData name="[Est - IMC] Tejeda Iglesias, Samuel Olivier" userId="b73d292e-799f-4e94-a6db-c223d33fa677" providerId="ADAL" clId="{879C99AE-C1EE-43C9-A566-6280024015CE}" dt="2022-11-08T16:15:22.871" v="224" actId="20577"/>
          <ac:spMkLst>
            <pc:docMk/>
            <pc:sldMk cId="0" sldId="303"/>
            <ac:spMk id="144" creationId="{00000000-0000-0000-0000-000000000000}"/>
          </ac:spMkLst>
        </pc:spChg>
        <pc:spChg chg="mod">
          <ac:chgData name="[Est - IMC] Tejeda Iglesias, Samuel Olivier" userId="b73d292e-799f-4e94-a6db-c223d33fa677" providerId="ADAL" clId="{879C99AE-C1EE-43C9-A566-6280024015CE}" dt="2022-11-08T22:52:07.387" v="759" actId="20577"/>
          <ac:spMkLst>
            <pc:docMk/>
            <pc:sldMk cId="0" sldId="303"/>
            <ac:spMk id="161" creationId="{00000000-0000-0000-0000-000000000000}"/>
          </ac:spMkLst>
        </pc:spChg>
        <pc:spChg chg="mod">
          <ac:chgData name="[Est - IMC] Tejeda Iglesias, Samuel Olivier" userId="b73d292e-799f-4e94-a6db-c223d33fa677" providerId="ADAL" clId="{879C99AE-C1EE-43C9-A566-6280024015CE}" dt="2022-11-08T16:16:15.204" v="339" actId="20577"/>
          <ac:spMkLst>
            <pc:docMk/>
            <pc:sldMk cId="0" sldId="303"/>
            <ac:spMk id="3081" creationId="{00000000-0000-0000-0000-000000000000}"/>
          </ac:spMkLst>
        </pc:spChg>
      </pc:sldChg>
      <pc:sldChg chg="mod modShow">
        <pc:chgData name="[Est - IMC] Tejeda Iglesias, Samuel Olivier" userId="b73d292e-799f-4e94-a6db-c223d33fa677" providerId="ADAL" clId="{879C99AE-C1EE-43C9-A566-6280024015CE}" dt="2022-11-08T22:28:11.702" v="495" actId="729"/>
        <pc:sldMkLst>
          <pc:docMk/>
          <pc:sldMk cId="2858868976" sldId="507"/>
        </pc:sldMkLst>
      </pc:sldChg>
      <pc:sldChg chg="modSp mod">
        <pc:chgData name="[Est - IMC] Tejeda Iglesias, Samuel Olivier" userId="b73d292e-799f-4e94-a6db-c223d33fa677" providerId="ADAL" clId="{879C99AE-C1EE-43C9-A566-6280024015CE}" dt="2022-11-08T22:50:11.915" v="755" actId="20577"/>
        <pc:sldMkLst>
          <pc:docMk/>
          <pc:sldMk cId="1226279496" sldId="512"/>
        </pc:sldMkLst>
        <pc:spChg chg="mod">
          <ac:chgData name="[Est - IMC] Tejeda Iglesias, Samuel Olivier" userId="b73d292e-799f-4e94-a6db-c223d33fa677" providerId="ADAL" clId="{879C99AE-C1EE-43C9-A566-6280024015CE}" dt="2022-11-08T22:28:56.615" v="505" actId="20577"/>
          <ac:spMkLst>
            <pc:docMk/>
            <pc:sldMk cId="1226279496" sldId="512"/>
            <ac:spMk id="2" creationId="{00000000-0000-0000-0000-000000000000}"/>
          </ac:spMkLst>
        </pc:spChg>
        <pc:spChg chg="mod">
          <ac:chgData name="[Est - IMC] Tejeda Iglesias, Samuel Olivier" userId="b73d292e-799f-4e94-a6db-c223d33fa677" providerId="ADAL" clId="{879C99AE-C1EE-43C9-A566-6280024015CE}" dt="2022-11-08T22:50:11.915" v="755" actId="20577"/>
          <ac:spMkLst>
            <pc:docMk/>
            <pc:sldMk cId="1226279496" sldId="512"/>
            <ac:spMk id="13" creationId="{209DA0A5-72C7-4631-BA90-5EBEAFE7EE2E}"/>
          </ac:spMkLst>
        </pc:spChg>
      </pc:sldChg>
      <pc:sldChg chg="addSp delSp modSp mod">
        <pc:chgData name="[Est - IMC] Tejeda Iglesias, Samuel Olivier" userId="b73d292e-799f-4e94-a6db-c223d33fa677" providerId="ADAL" clId="{879C99AE-C1EE-43C9-A566-6280024015CE}" dt="2022-11-08T22:45:45.936" v="624" actId="1076"/>
        <pc:sldMkLst>
          <pc:docMk/>
          <pc:sldMk cId="3132386926" sldId="516"/>
        </pc:sldMkLst>
        <pc:picChg chg="add mod modCrop">
          <ac:chgData name="[Est - IMC] Tejeda Iglesias, Samuel Olivier" userId="b73d292e-799f-4e94-a6db-c223d33fa677" providerId="ADAL" clId="{879C99AE-C1EE-43C9-A566-6280024015CE}" dt="2022-11-08T22:45:42.929" v="623" actId="1076"/>
          <ac:picMkLst>
            <pc:docMk/>
            <pc:sldMk cId="3132386926" sldId="516"/>
            <ac:picMk id="2" creationId="{60572262-E797-5543-2A01-F8186941F7A4}"/>
          </ac:picMkLst>
        </pc:picChg>
        <pc:picChg chg="add del mod modCrop">
          <ac:chgData name="[Est - IMC] Tejeda Iglesias, Samuel Olivier" userId="b73d292e-799f-4e94-a6db-c223d33fa677" providerId="ADAL" clId="{879C99AE-C1EE-43C9-A566-6280024015CE}" dt="2022-11-08T22:39:32.833" v="620" actId="478"/>
          <ac:picMkLst>
            <pc:docMk/>
            <pc:sldMk cId="3132386926" sldId="516"/>
            <ac:picMk id="4" creationId="{042D520E-5A61-4DF0-9B46-6424A9C20F3E}"/>
          </ac:picMkLst>
        </pc:picChg>
        <pc:picChg chg="mod modCrop">
          <ac:chgData name="[Est - IMC] Tejeda Iglesias, Samuel Olivier" userId="b73d292e-799f-4e94-a6db-c223d33fa677" providerId="ADAL" clId="{879C99AE-C1EE-43C9-A566-6280024015CE}" dt="2022-11-08T22:45:45.936" v="624" actId="1076"/>
          <ac:picMkLst>
            <pc:docMk/>
            <pc:sldMk cId="3132386926" sldId="516"/>
            <ac:picMk id="7" creationId="{EC19ADCD-F8B8-5D43-C8D9-7351FB0016E3}"/>
          </ac:picMkLst>
        </pc:picChg>
      </pc:sldChg>
      <pc:sldChg chg="mod modShow">
        <pc:chgData name="[Est - IMC] Tejeda Iglesias, Samuel Olivier" userId="b73d292e-799f-4e94-a6db-c223d33fa677" providerId="ADAL" clId="{879C99AE-C1EE-43C9-A566-6280024015CE}" dt="2022-11-08T23:05:21.925" v="760" actId="729"/>
        <pc:sldMkLst>
          <pc:docMk/>
          <pc:sldMk cId="2630937539" sldId="522"/>
        </pc:sldMkLst>
      </pc:sldChg>
      <pc:sldChg chg="mod modShow">
        <pc:chgData name="[Est - IMC] Tejeda Iglesias, Samuel Olivier" userId="b73d292e-799f-4e94-a6db-c223d33fa677" providerId="ADAL" clId="{879C99AE-C1EE-43C9-A566-6280024015CE}" dt="2022-11-08T22:27:36.808" v="491" actId="729"/>
        <pc:sldMkLst>
          <pc:docMk/>
          <pc:sldMk cId="3432675280" sldId="524"/>
        </pc:sldMkLst>
      </pc:sldChg>
      <pc:sldChg chg="addSp delSp modSp mod modCm">
        <pc:chgData name="[Est - IMC] Tejeda Iglesias, Samuel Olivier" userId="b73d292e-799f-4e94-a6db-c223d33fa677" providerId="ADAL" clId="{879C99AE-C1EE-43C9-A566-6280024015CE}" dt="2022-11-08T22:06:18.847" v="490" actId="1076"/>
        <pc:sldMkLst>
          <pc:docMk/>
          <pc:sldMk cId="2501808417" sldId="525"/>
        </pc:sldMkLst>
        <pc:graphicFrameChg chg="add del mod">
          <ac:chgData name="[Est - IMC] Tejeda Iglesias, Samuel Olivier" userId="b73d292e-799f-4e94-a6db-c223d33fa677" providerId="ADAL" clId="{879C99AE-C1EE-43C9-A566-6280024015CE}" dt="2022-11-08T22:06:00.192" v="483"/>
          <ac:graphicFrameMkLst>
            <pc:docMk/>
            <pc:sldMk cId="2501808417" sldId="525"/>
            <ac:graphicFrameMk id="2" creationId="{FB5745FA-2C80-D990-6735-1FEBDF94A0C0}"/>
          </ac:graphicFrameMkLst>
        </pc:graphicFrameChg>
        <pc:picChg chg="del">
          <ac:chgData name="[Est - IMC] Tejeda Iglesias, Samuel Olivier" userId="b73d292e-799f-4e94-a6db-c223d33fa677" providerId="ADAL" clId="{879C99AE-C1EE-43C9-A566-6280024015CE}" dt="2022-11-08T19:23:43.275" v="475" actId="478"/>
          <ac:picMkLst>
            <pc:docMk/>
            <pc:sldMk cId="2501808417" sldId="525"/>
            <ac:picMk id="4" creationId="{A652BFBD-0A66-98BE-F1C7-EC7F5EBBFB1C}"/>
          </ac:picMkLst>
        </pc:picChg>
        <pc:picChg chg="add mod">
          <ac:chgData name="[Est - IMC] Tejeda Iglesias, Samuel Olivier" userId="b73d292e-799f-4e94-a6db-c223d33fa677" providerId="ADAL" clId="{879C99AE-C1EE-43C9-A566-6280024015CE}" dt="2022-11-08T22:06:18.847" v="490" actId="1076"/>
          <ac:picMkLst>
            <pc:docMk/>
            <pc:sldMk cId="2501808417" sldId="525"/>
            <ac:picMk id="7" creationId="{1C3A4ED0-E92C-594A-D914-18D94C4C3B4C}"/>
          </ac:picMkLst>
        </pc:picChg>
      </pc:sldChg>
      <pc:sldChg chg="mod modShow">
        <pc:chgData name="[Est - IMC] Tejeda Iglesias, Samuel Olivier" userId="b73d292e-799f-4e94-a6db-c223d33fa677" providerId="ADAL" clId="{879C99AE-C1EE-43C9-A566-6280024015CE}" dt="2022-11-08T22:27:40.652" v="492" actId="729"/>
        <pc:sldMkLst>
          <pc:docMk/>
          <pc:sldMk cId="3850286986" sldId="527"/>
        </pc:sldMkLst>
      </pc:sldChg>
      <pc:sldChg chg="mod modShow">
        <pc:chgData name="[Est - IMC] Tejeda Iglesias, Samuel Olivier" userId="b73d292e-799f-4e94-a6db-c223d33fa677" providerId="ADAL" clId="{879C99AE-C1EE-43C9-A566-6280024015CE}" dt="2022-11-08T22:27:44.319" v="493" actId="729"/>
        <pc:sldMkLst>
          <pc:docMk/>
          <pc:sldMk cId="262896035" sldId="528"/>
        </pc:sldMkLst>
      </pc:sldChg>
      <pc:sldChg chg="mod modShow">
        <pc:chgData name="[Est - IMC] Tejeda Iglesias, Samuel Olivier" userId="b73d292e-799f-4e94-a6db-c223d33fa677" providerId="ADAL" clId="{879C99AE-C1EE-43C9-A566-6280024015CE}" dt="2022-11-08T16:12:50.219" v="0" actId="729"/>
        <pc:sldMkLst>
          <pc:docMk/>
          <pc:sldMk cId="1194193033" sldId="529"/>
        </pc:sldMkLst>
      </pc:sldChg>
      <pc:sldChg chg="mod modShow">
        <pc:chgData name="[Est - IMC] Tejeda Iglesias, Samuel Olivier" userId="b73d292e-799f-4e94-a6db-c223d33fa677" providerId="ADAL" clId="{879C99AE-C1EE-43C9-A566-6280024015CE}" dt="2022-11-08T22:27:50.503" v="494" actId="729"/>
        <pc:sldMkLst>
          <pc:docMk/>
          <pc:sldMk cId="1607332293" sldId="530"/>
        </pc:sldMkLst>
      </pc:sldChg>
      <pc:sldChg chg="del">
        <pc:chgData name="[Est - IMC] Tejeda Iglesias, Samuel Olivier" userId="b73d292e-799f-4e94-a6db-c223d33fa677" providerId="ADAL" clId="{879C99AE-C1EE-43C9-A566-6280024015CE}" dt="2022-11-08T22:37:48.063" v="612" actId="2696"/>
        <pc:sldMkLst>
          <pc:docMk/>
          <pc:sldMk cId="2253909879" sldId="536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estintecedu-my.sharepoint.com/personal/1092136_est_intec_edu_do/Documents/INTEC/Trimestre%2016/Proyecto%20Mecatronico%20II/Documentaci&#243;n/SA%20-%20Bill%20of%20materiall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0" i="0">
                <a:effectLst/>
              </a:rPr>
              <a:t>Acid Mist Exposu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blacion Gener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2"/>
                <c:pt idx="0">
                  <c:v>Cáncer de Pulmon</c:v>
                </c:pt>
                <c:pt idx="1">
                  <c:v>Cáncer de Laringe </c:v>
                </c:pt>
              </c:strCache>
              <c:extLst/>
            </c:strRef>
          </c:cat>
          <c:val>
            <c:numRef>
              <c:f>Sheet1!$B$2:$B$5</c:f>
              <c:numCache>
                <c:formatCode>General</c:formatCode>
                <c:ptCount val="2"/>
                <c:pt idx="0">
                  <c:v>1</c:v>
                </c:pt>
                <c:pt idx="1">
                  <c:v>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E016-43A6-9BB8-3DD7CAEC2D1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perario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2"/>
                <c:pt idx="0">
                  <c:v>Cáncer de Pulmon</c:v>
                </c:pt>
                <c:pt idx="1">
                  <c:v>Cáncer de Laringe </c:v>
                </c:pt>
              </c:strCache>
              <c:extLst/>
            </c:strRef>
          </c:cat>
          <c:val>
            <c:numRef>
              <c:f>Sheet1!$C$2:$C$5</c:f>
              <c:numCache>
                <c:formatCode>General</c:formatCode>
                <c:ptCount val="2"/>
                <c:pt idx="0">
                  <c:v>1.4</c:v>
                </c:pt>
                <c:pt idx="1">
                  <c:v>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E016-43A6-9BB8-3DD7CAEC2D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93494352"/>
        <c:axId val="2093494768"/>
      </c:barChart>
      <c:catAx>
        <c:axId val="2093494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093494768"/>
        <c:crosses val="autoZero"/>
        <c:auto val="1"/>
        <c:lblAlgn val="ctr"/>
        <c:lblOffset val="100"/>
        <c:noMultiLvlLbl val="0"/>
      </c:catAx>
      <c:valAx>
        <c:axId val="209349476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934943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r>
              <a:rPr lang="es-DO">
                <a:latin typeface="Century Gothic" panose="020B0502020202020204" pitchFamily="34" charset="0"/>
              </a:rPr>
              <a:t>Gasto Proyectado vs Real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dk1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Proyeccion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'Hoja 1'!$F$39:$F$49</c:f>
              <c:numCache>
                <c:formatCode>_("$"* #,##0.00_);_("$"* \(#,##0.00\);_("$"* "-"??_);_(@_)</c:formatCode>
                <c:ptCount val="11"/>
                <c:pt idx="0">
                  <c:v>0</c:v>
                </c:pt>
                <c:pt idx="1">
                  <c:v>6110.2045454500003</c:v>
                </c:pt>
                <c:pt idx="2">
                  <c:v>8220.4090909000006</c:v>
                </c:pt>
                <c:pt idx="3">
                  <c:v>18330.613636350001</c:v>
                </c:pt>
                <c:pt idx="4">
                  <c:v>24440.818181800001</c:v>
                </c:pt>
                <c:pt idx="5">
                  <c:v>27551.022727250001</c:v>
                </c:pt>
                <c:pt idx="6">
                  <c:v>35661.227272700002</c:v>
                </c:pt>
                <c:pt idx="7">
                  <c:v>47771.431818149998</c:v>
                </c:pt>
                <c:pt idx="8">
                  <c:v>48881.636363600002</c:v>
                </c:pt>
                <c:pt idx="9">
                  <c:v>54991.840909049999</c:v>
                </c:pt>
                <c:pt idx="10">
                  <c:v>65108.186233169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7D5-4140-B1A3-FE2ED611AAC0}"/>
            </c:ext>
          </c:extLst>
        </c:ser>
        <c:ser>
          <c:idx val="1"/>
          <c:order val="1"/>
          <c:tx>
            <c:v>Gastos Reales</c:v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val>
            <c:numRef>
              <c:f>'Hoja 1'!$H$39:$H$49</c:f>
              <c:numCache>
                <c:formatCode>_("$"* #,##0.00_);_("$"* \(#,##0.00\);_("$"* "-"??_);_(@_)</c:formatCode>
                <c:ptCount val="11"/>
                <c:pt idx="0">
                  <c:v>0</c:v>
                </c:pt>
                <c:pt idx="1">
                  <c:v>1100</c:v>
                </c:pt>
                <c:pt idx="2">
                  <c:v>11955</c:v>
                </c:pt>
                <c:pt idx="3">
                  <c:v>13055</c:v>
                </c:pt>
                <c:pt idx="4">
                  <c:v>25316.98</c:v>
                </c:pt>
                <c:pt idx="5">
                  <c:v>28616.98</c:v>
                </c:pt>
                <c:pt idx="6">
                  <c:v>30393.02</c:v>
                </c:pt>
                <c:pt idx="7">
                  <c:v>31093.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7D5-4140-B1A3-FE2ED611AA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52159055"/>
        <c:axId val="752154895"/>
      </c:lineChart>
      <c:catAx>
        <c:axId val="752159055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fr-FR"/>
          </a:p>
        </c:txPr>
        <c:crossAx val="752154895"/>
        <c:crosses val="autoZero"/>
        <c:auto val="1"/>
        <c:lblAlgn val="ctr"/>
        <c:lblOffset val="100"/>
        <c:noMultiLvlLbl val="0"/>
      </c:catAx>
      <c:valAx>
        <c:axId val="7521548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fr-FR"/>
          </a:p>
        </c:txPr>
        <c:crossAx val="752159055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dk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12700" cap="flat" cmpd="sng" algn="ctr">
      <a:solidFill>
        <a:schemeClr val="bg1"/>
      </a:solidFill>
      <a:prstDash val="solid"/>
      <a:miter lim="800000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12F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213775F-4BAE-41F5-9E9F-A815C40B29EF}" authorId="{B175E6E7-5435-C8AB-FB48-7A82468AB01A}" created="2022-11-08T09:56:03.630">
    <pc:sldMkLst xmlns:pc="http://schemas.microsoft.com/office/powerpoint/2013/main/command">
      <pc:docMk/>
      <pc:sldMk cId="0" sldId="303"/>
    </pc:sldMkLst>
    <p188:replyLst>
      <p188:reply id="{64AEDBE3-E771-442A-A8AA-71EE1D5C3727}" authorId="{B175E6E7-5435-C8AB-FB48-7A82468AB01A}" created="2022-11-08T09:56:45.765">
        <p188:txBody>
          <a:bodyPr/>
          <a:lstStyle/>
          <a:p>
            <a:r>
              <a:rPr lang="es-US"/>
              <a:t>El plan de trabajo lo puedes medio inspirar en el Gantt, que hice en base al WBS.</a:t>
            </a:r>
          </a:p>
        </p188:txBody>
      </p188:reply>
    </p188:replyLst>
    <p188:txBody>
      <a:bodyPr/>
      <a:lstStyle/>
      <a:p>
        <a:r>
          <a:rPr lang="es-US"/>
          <a:t>IMPORTANTÍSIMO. 
</a:t>
        </a:r>
      </a:p>
    </p188:txBody>
  </p188:cm>
</p188:cmLst>
</file>

<file path=ppt/comments/modernComment_200_49178A4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32E1C3E-8385-4DFA-BCE2-1417B8BD0E6B}" authorId="{B175E6E7-5435-C8AB-FB48-7A82468AB01A}" created="2022-11-08T06:23:23.182">
    <pc:sldMkLst xmlns:pc="http://schemas.microsoft.com/office/powerpoint/2013/main/command">
      <pc:docMk/>
      <pc:sldMk cId="1226279496" sldId="512"/>
    </pc:sldMkLst>
    <p188:txBody>
      <a:bodyPr/>
      <a:lstStyle/>
      <a:p>
        <a:r>
          <a:rPr lang="es-US"/>
          <a:t>SAMUEEEEEEL</a:t>
        </a:r>
      </a:p>
    </p188:txBody>
  </p188:cm>
</p188:cmLst>
</file>

<file path=ppt/comments/modernComment_204_BAB46E6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C831FDE-C193-4716-869C-2E616B5B34B0}" authorId="{B175E6E7-5435-C8AB-FB48-7A82468AB01A}" created="2022-11-08T09:55:35.646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132386926" sldId="516"/>
      <ac:picMk id="7" creationId="{EC19ADCD-F8B8-5D43-C8D9-7351FB0016E3}"/>
    </ac:deMkLst>
    <p188:txBody>
      <a:bodyPr/>
      <a:lstStyle/>
      <a:p>
        <a:r>
          <a:rPr lang="es-US"/>
          <a:t>Ve a ver qué logras.</a:t>
        </a:r>
      </a:p>
    </p188:txBody>
  </p188:cm>
</p188:cmLst>
</file>

<file path=ppt/comments/modernComment_207_3766E25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331984D-AFB7-408E-AC64-B49BA396D21D}" authorId="{B175E6E7-5435-C8AB-FB48-7A82468AB01A}" created="2022-11-08T06:22:41.163">
    <pc:sldMkLst xmlns:pc="http://schemas.microsoft.com/office/powerpoint/2013/main/command">
      <pc:docMk/>
      <pc:sldMk cId="929489489" sldId="519"/>
    </pc:sldMkLst>
    <p188:txBody>
      <a:bodyPr/>
      <a:lstStyle/>
      <a:p>
        <a:r>
          <a:rPr lang="es-US"/>
          <a:t>SAMUEEEEEL</a:t>
        </a:r>
      </a:p>
    </p188:txBody>
  </p188:cm>
</p188:cmLst>
</file>

<file path=ppt/comments/modernComment_20D_951E912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28870F9-BC35-47E7-9CFD-E34F3D44349B}" authorId="{B175E6E7-5435-C8AB-FB48-7A82468AB01A}" created="2022-11-08T09:55:44.992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501808417" sldId="525"/>
      <ac:picMk id="4" creationId="{A652BFBD-0A66-98BE-F1C7-EC7F5EBBFB1C}"/>
    </ac:deMkLst>
    <p188:txBody>
      <a:bodyPr/>
      <a:lstStyle/>
      <a:p>
        <a:r>
          <a:rPr lang="es-US"/>
          <a:t>Mamaste.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F74E-F55A-4176-859E-38571B6C2BAE}" type="datetimeFigureOut">
              <a:rPr lang="en-US" smtClean="0"/>
              <a:t>5/1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F39299-2EB6-4C20-8AC0-8C791BCCAB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2630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E6F6E-D255-4E45-A984-509EB3D5CD78}" type="slidenum">
              <a:rPr lang="es-DO" smtClean="0"/>
              <a:pPr>
                <a:defRPr/>
              </a:pPr>
              <a:t>1</a:t>
            </a:fld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8362753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fld id="{04EAA90B-96C3-4D4B-9F6E-C1551B533D8A}" type="slidenum">
              <a:rPr lang="en-US">
                <a:solidFill>
                  <a:prstClr val="black"/>
                </a:solidFill>
                <a:latin typeface="Arial" charset="0"/>
                <a:cs typeface="Arial" charset="0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533775" y="1177925"/>
            <a:ext cx="13884275" cy="7810500"/>
          </a:xfrm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9150" y="339727"/>
            <a:ext cx="5843588" cy="288925"/>
          </a:xfrm>
          <a:noFill/>
          <a:ln/>
        </p:spPr>
        <p:txBody>
          <a:bodyPr/>
          <a:lstStyle/>
          <a:p>
            <a:pPr eaLnBrk="1" hangingPunct="1"/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6591212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E6F6E-D255-4E45-A984-509EB3D5CD78}" type="slidenum">
              <a:rPr lang="es-DO" smtClean="0"/>
              <a:pPr>
                <a:defRPr/>
              </a:pPr>
              <a:t>16</a:t>
            </a:fld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40809519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5B9EC-02F5-4363-A0C9-D93D429400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011891-9A92-4CD7-83CF-728BB8081E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124982-6F92-4359-ABCE-F93771C522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5270-C039-480D-96FC-48B40483BAAE}" type="datetime1">
              <a:rPr lang="en-US" smtClean="0"/>
              <a:t>5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BF9827-1717-49CD-BBC7-B194C3FEC4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34895A-C105-4017-9ECC-1937B71A7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138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A7B286-4917-44B0-9D3F-A13A73245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EDDE90-060A-41C1-A870-2391298779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D1119-5323-4890-A284-654B739A51BA}" type="datetime1">
              <a:rPr lang="en-US" smtClean="0"/>
              <a:t>5/1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403B95-A989-40FF-B2A7-49F596EC9C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2D3AEB-BF59-4731-AD98-876618FFBF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720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011726-A285-4BC3-8C2F-323628A17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78B72-A5F8-46F9-99A1-58AE5F272956}" type="datetime1">
              <a:rPr lang="en-US" smtClean="0"/>
              <a:t>5/11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59E5C1-399A-48EB-BA74-6694BDF439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3106FD-CE36-48CE-980F-046120F98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54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descrip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E4D60E-C43E-408E-B886-0C8FCDBF6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15A48D-8AD0-4FD4-86B1-BD8DB68716D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 baseline="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err="1"/>
              <a:t>Clic</a:t>
            </a:r>
            <a:r>
              <a:rPr lang="en-US"/>
              <a:t> </a:t>
            </a:r>
            <a:r>
              <a:rPr lang="en-US" err="1"/>
              <a:t>aquí</a:t>
            </a:r>
            <a:r>
              <a:rPr lang="en-US"/>
              <a:t> para </a:t>
            </a:r>
            <a:r>
              <a:rPr lang="en-US" err="1"/>
              <a:t>agregar</a:t>
            </a:r>
            <a:r>
              <a:rPr lang="en-US"/>
              <a:t> </a:t>
            </a:r>
            <a:r>
              <a:rPr lang="en-US" err="1"/>
              <a:t>una</a:t>
            </a:r>
            <a:r>
              <a:rPr lang="en-US"/>
              <a:t> </a:t>
            </a:r>
            <a:r>
              <a:rPr lang="en-US" err="1"/>
              <a:t>imagen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E6F26A-738B-445C-862B-60E7492BC3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87A36B-B013-4588-90E5-52F0E64939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52F13-A704-482D-8980-515C81472212}" type="datetime1">
              <a:rPr lang="en-US" smtClean="0"/>
              <a:t>5/1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BBF366-60D8-49B7-A5B5-AB30C892C5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9FDA4D-F8EF-4630-B153-12668A226C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89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descrip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514EE-B4F6-4BD9-BD70-DDAB67F851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8FD3A30-F70F-40CD-B9A2-23E137C1383F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Aquí</a:t>
            </a:r>
            <a:r>
              <a:rPr lang="en-US"/>
              <a:t> </a:t>
            </a:r>
            <a:r>
              <a:rPr lang="en-US" err="1"/>
              <a:t>va</a:t>
            </a:r>
            <a:r>
              <a:rPr lang="en-US"/>
              <a:t> </a:t>
            </a:r>
            <a:r>
              <a:rPr lang="en-US" err="1"/>
              <a:t>una</a:t>
            </a:r>
            <a:r>
              <a:rPr lang="en-US"/>
              <a:t> </a:t>
            </a:r>
            <a:r>
              <a:rPr lang="en-US" err="1"/>
              <a:t>imagen</a:t>
            </a:r>
            <a:endParaRPr lang="en-US"/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3C34E1-45EF-4537-807B-61F882B5BF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1284FD-9617-4E0E-8CB3-40618242E0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5D041-D5B5-42E6-8028-6A9F4C585432}" type="datetime1">
              <a:rPr lang="en-US" smtClean="0"/>
              <a:t>5/1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53747E-12DB-41B1-A091-5B0B1146E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6DE335-5B97-4387-8CEF-F29C8BF4B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525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18EA35-5725-4A96-90D1-1D1D4BF0B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A187A9-EEDB-4716-B10F-31482465C4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1087A9-6CE3-47E7-B986-A1768A06B2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828F0-35C4-4196-818D-1F575AA5B98E}" type="datetime1">
              <a:rPr lang="en-US" smtClean="0"/>
              <a:t>5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E62D38-346B-40BA-B053-DF0CBDBCE9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BC8EB3-01B1-4092-BD37-0AEFC72D0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79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FF4B28D-0582-4634-8DBA-952F4A74D7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63072A-6BF2-44D1-AECB-EA759F6E2F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8AA2E3-1E0D-4CAC-AE11-3C094529F3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48A25-6F3F-47C0-A46B-7DE5FD57BF29}" type="datetime1">
              <a:rPr lang="en-US" smtClean="0"/>
              <a:t>5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EF25E4-6CFE-4541-B65F-3B8DD9DC43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AF2899-93CE-44E0-82E1-59DD2638C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124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77827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984" y="234951"/>
            <a:ext cx="11724216" cy="2952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67217" y="1298575"/>
            <a:ext cx="11724216" cy="124777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r" rtl="0" fontAlgn="base">
              <a:spcBef>
                <a:spcPct val="0"/>
              </a:spcBef>
              <a:spcAft>
                <a:spcPct val="0"/>
              </a:spcAft>
              <a:defRPr/>
            </a:pPr>
            <a:fld id="{C2C56FA0-9C90-4361-9AE3-4BC9CA924807}" type="slidenum">
              <a:rPr lang="es-VE" sz="1200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VE" sz="1200" kern="120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1344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6BE22FD-260E-4303-8607-A24FA55CE8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4975" y="-7231"/>
            <a:ext cx="6677025" cy="685800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6CDA764-1F27-4B0F-80DD-E89BCC974F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EE5C5-B912-4F2B-8AFF-65AAA1B5D803}" type="datetime1">
              <a:rPr lang="en-US" smtClean="0"/>
              <a:t>5/11/2023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AAE44D-26B3-4845-8192-E94B355B0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C89F21-BEF2-46AD-89F3-44E6BA47BFE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A stop sign&#10;&#10;Description automatically generated">
            <a:extLst>
              <a:ext uri="{FF2B5EF4-FFF2-40B4-BE49-F238E27FC236}">
                <a16:creationId xmlns:a16="http://schemas.microsoft.com/office/drawing/2014/main" id="{0D0CBC5A-7922-44C7-9A6B-FDC4312967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8248" y="274320"/>
            <a:ext cx="791688" cy="914400"/>
          </a:xfrm>
          <a:prstGeom prst="rect">
            <a:avLst/>
          </a:prstGeom>
        </p:spPr>
      </p:pic>
      <p:sp>
        <p:nvSpPr>
          <p:cNvPr id="2" name="Rectángulo 1"/>
          <p:cNvSpPr/>
          <p:nvPr userDrawn="1"/>
        </p:nvSpPr>
        <p:spPr>
          <a:xfrm>
            <a:off x="-6350" y="-41758"/>
            <a:ext cx="6707401" cy="687887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5B083CA-A401-4C19-A3F5-95B92759BF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1850" y="1606138"/>
            <a:ext cx="5418825" cy="3645725"/>
          </a:xfrm>
        </p:spPr>
        <p:txBody>
          <a:bodyPr tIns="45720" anchor="t" anchorCtr="0">
            <a:normAutofit/>
          </a:bodyPr>
          <a:lstStyle>
            <a:lvl1pPr>
              <a:lnSpc>
                <a:spcPct val="114000"/>
              </a:lnSpc>
              <a:defRPr sz="5400">
                <a:solidFill>
                  <a:schemeClr val="accent1"/>
                </a:solidFill>
                <a:latin typeface="+mj-lt"/>
              </a:defRPr>
            </a:lvl1pPr>
            <a:lvl2pPr>
              <a:defRPr sz="6000">
                <a:latin typeface="+mj-lt"/>
              </a:defRPr>
            </a:lvl2pPr>
            <a:lvl3pPr>
              <a:defRPr sz="6000">
                <a:latin typeface="+mj-lt"/>
              </a:defRPr>
            </a:lvl3pPr>
            <a:lvl4pPr>
              <a:defRPr sz="6000">
                <a:latin typeface="+mj-lt"/>
              </a:defRPr>
            </a:lvl4pPr>
            <a:lvl5pPr>
              <a:defRPr sz="60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ADC35-FCE6-45E3-A007-264F88E1D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34785" y="6356349"/>
            <a:ext cx="3423480" cy="365125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noProof="0"/>
              <a:t>Instituto</a:t>
            </a:r>
            <a:r>
              <a:rPr lang="en-US"/>
              <a:t> </a:t>
            </a:r>
            <a:r>
              <a:rPr lang="es-ES" noProof="0"/>
              <a:t>Tecnológico</a:t>
            </a:r>
            <a:r>
              <a:rPr lang="en-US"/>
              <a:t> de Santo Domingo, INTEC </a:t>
            </a:r>
          </a:p>
        </p:txBody>
      </p:sp>
    </p:spTree>
    <p:extLst>
      <p:ext uri="{BB962C8B-B14F-4D97-AF65-F5344CB8AC3E}">
        <p14:creationId xmlns:p14="http://schemas.microsoft.com/office/powerpoint/2010/main" val="2181174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6BE22FD-260E-4303-8607-A24FA55CE8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17"/>
          <a:stretch/>
        </p:blipFill>
        <p:spPr>
          <a:xfrm>
            <a:off x="5986976" y="0"/>
            <a:ext cx="6568005" cy="6899758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6CDA764-1F27-4B0F-80DD-E89BCC974F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EE5C5-B912-4F2B-8AFF-65AAA1B5D803}" type="datetime1">
              <a:rPr lang="en-US" smtClean="0"/>
              <a:t>5/11/2023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AAE44D-26B3-4845-8192-E94B355B0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C89F21-BEF2-46AD-89F3-44E6BA47BFE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A stop sign&#10;&#10;Description automatically generated">
            <a:extLst>
              <a:ext uri="{FF2B5EF4-FFF2-40B4-BE49-F238E27FC236}">
                <a16:creationId xmlns:a16="http://schemas.microsoft.com/office/drawing/2014/main" id="{0D0CBC5A-7922-44C7-9A6B-FDC4312967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8248" y="274320"/>
            <a:ext cx="791688" cy="914400"/>
          </a:xfrm>
          <a:prstGeom prst="rect">
            <a:avLst/>
          </a:prstGeom>
        </p:spPr>
      </p:pic>
      <p:sp>
        <p:nvSpPr>
          <p:cNvPr id="2" name="Rectángulo 1"/>
          <p:cNvSpPr/>
          <p:nvPr userDrawn="1"/>
        </p:nvSpPr>
        <p:spPr>
          <a:xfrm>
            <a:off x="-6350" y="-41758"/>
            <a:ext cx="5993326" cy="687887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5B083CA-A401-4C19-A3F5-95B92759BF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1850" y="1606138"/>
            <a:ext cx="4513873" cy="3645725"/>
          </a:xfrm>
        </p:spPr>
        <p:txBody>
          <a:bodyPr tIns="45720" anchor="t" anchorCtr="0">
            <a:normAutofit/>
          </a:bodyPr>
          <a:lstStyle>
            <a:lvl1pPr>
              <a:lnSpc>
                <a:spcPct val="114000"/>
              </a:lnSpc>
              <a:defRPr sz="5400">
                <a:solidFill>
                  <a:schemeClr val="accent1"/>
                </a:solidFill>
                <a:latin typeface="+mj-lt"/>
              </a:defRPr>
            </a:lvl1pPr>
            <a:lvl2pPr>
              <a:defRPr sz="6000">
                <a:latin typeface="+mj-lt"/>
              </a:defRPr>
            </a:lvl2pPr>
            <a:lvl3pPr>
              <a:defRPr sz="6000">
                <a:latin typeface="+mj-lt"/>
              </a:defRPr>
            </a:lvl3pPr>
            <a:lvl4pPr>
              <a:defRPr sz="6000">
                <a:latin typeface="+mj-lt"/>
              </a:defRPr>
            </a:lvl4pPr>
            <a:lvl5pPr>
              <a:defRPr sz="60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ADC35-FCE6-45E3-A007-264F88E1D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34785" y="6356349"/>
            <a:ext cx="3423480" cy="365125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noProof="0"/>
              <a:t>Instituto</a:t>
            </a:r>
            <a:r>
              <a:rPr lang="en-US"/>
              <a:t> </a:t>
            </a:r>
            <a:r>
              <a:rPr lang="es-ES" noProof="0"/>
              <a:t>Tecnológico</a:t>
            </a:r>
            <a:r>
              <a:rPr lang="en-US"/>
              <a:t> de Santo Domingo, INTEC </a:t>
            </a:r>
          </a:p>
        </p:txBody>
      </p:sp>
    </p:spTree>
    <p:extLst>
      <p:ext uri="{BB962C8B-B14F-4D97-AF65-F5344CB8AC3E}">
        <p14:creationId xmlns:p14="http://schemas.microsoft.com/office/powerpoint/2010/main" val="1251958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1759"/>
            <a:ext cx="12192000" cy="366486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6CDA764-1F27-4B0F-80DD-E89BCC974F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EE5C5-B912-4F2B-8AFF-65AAA1B5D803}" type="datetime1">
              <a:rPr lang="en-US" smtClean="0"/>
              <a:t>5/11/2023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AAE44D-26B3-4845-8192-E94B355B0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C89F21-BEF2-46AD-89F3-44E6BA47BFE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A stop sign&#10;&#10;Description automatically generated">
            <a:extLst>
              <a:ext uri="{FF2B5EF4-FFF2-40B4-BE49-F238E27FC236}">
                <a16:creationId xmlns:a16="http://schemas.microsoft.com/office/drawing/2014/main" id="{0D0CBC5A-7922-44C7-9A6B-FDC4312967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8248" y="274320"/>
            <a:ext cx="791688" cy="914400"/>
          </a:xfrm>
          <a:prstGeom prst="rect">
            <a:avLst/>
          </a:prstGeom>
        </p:spPr>
      </p:pic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5B083CA-A401-4C19-A3F5-95B92759BF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4728" y="3968496"/>
            <a:ext cx="8403590" cy="1703991"/>
          </a:xfrm>
        </p:spPr>
        <p:txBody>
          <a:bodyPr tIns="45720" anchor="t" anchorCtr="0">
            <a:normAutofit/>
          </a:bodyPr>
          <a:lstStyle>
            <a:lvl1pPr>
              <a:lnSpc>
                <a:spcPct val="114000"/>
              </a:lnSpc>
              <a:defRPr sz="5400">
                <a:solidFill>
                  <a:schemeClr val="accent1"/>
                </a:solidFill>
                <a:latin typeface="+mj-lt"/>
              </a:defRPr>
            </a:lvl1pPr>
            <a:lvl2pPr>
              <a:defRPr sz="6000">
                <a:latin typeface="+mj-lt"/>
              </a:defRPr>
            </a:lvl2pPr>
            <a:lvl3pPr>
              <a:defRPr sz="6000">
                <a:latin typeface="+mj-lt"/>
              </a:defRPr>
            </a:lvl3pPr>
            <a:lvl4pPr>
              <a:defRPr sz="6000">
                <a:latin typeface="+mj-lt"/>
              </a:defRPr>
            </a:lvl4pPr>
            <a:lvl5pPr>
              <a:defRPr sz="60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ADC35-FCE6-45E3-A007-264F88E1D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34785" y="6356349"/>
            <a:ext cx="3423480" cy="365125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noProof="0"/>
              <a:t>Instituto</a:t>
            </a:r>
            <a:r>
              <a:rPr lang="en-US"/>
              <a:t> </a:t>
            </a:r>
            <a:r>
              <a:rPr lang="es-ES" noProof="0"/>
              <a:t>Tecnológico</a:t>
            </a:r>
            <a:r>
              <a:rPr lang="en-US"/>
              <a:t> de Santo Domingo, INTEC </a:t>
            </a:r>
          </a:p>
        </p:txBody>
      </p:sp>
    </p:spTree>
    <p:extLst>
      <p:ext uri="{BB962C8B-B14F-4D97-AF65-F5344CB8AC3E}">
        <p14:creationId xmlns:p14="http://schemas.microsoft.com/office/powerpoint/2010/main" val="138197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C95C7-0C81-44ED-9E3F-D71DEA8849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lnSpc>
                <a:spcPct val="114000"/>
              </a:lnSpc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249469-EECC-4E5D-AED7-258BB14F7A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333BAB-2361-4A3C-A886-860AB88B35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15A1BD-5F3F-4B41-8EFB-40B39173FBAD}" type="datetime1">
              <a:rPr lang="en-US" smtClean="0"/>
              <a:t>5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606BF5-DA55-4B8E-A853-BF335CDC9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059A25-3BB4-4AF1-AA37-E5DAC5535A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157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altado - Roj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C95C7-0C81-44ED-9E3F-D71DEA8849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688769"/>
            <a:ext cx="9144000" cy="5234049"/>
          </a:xfrm>
        </p:spPr>
        <p:txBody>
          <a:bodyPr anchor="ctr" anchorCtr="1">
            <a:normAutofit/>
          </a:bodyPr>
          <a:lstStyle>
            <a:lvl1pPr algn="ctr">
              <a:lnSpc>
                <a:spcPct val="114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333BAB-2361-4A3C-A886-860AB88B35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15A1BD-5F3F-4B41-8EFB-40B39173FBAD}" type="datetime1">
              <a:rPr lang="en-US" smtClean="0"/>
              <a:pPr/>
              <a:t>5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606BF5-DA55-4B8E-A853-BF335CDC9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059A25-3BB4-4AF1-AA37-E5DAC5535A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C89F21-BEF2-46AD-89F3-44E6BA47BFE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730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C975D9-5984-449C-B0E8-D1D5AEE221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lnSpc>
                <a:spcPct val="114000"/>
              </a:lnSpc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090D1-553C-4603-9745-1E33273C28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25E3D0-AF08-4C3E-B274-A322E875C2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11D77F-EF05-4BB8-8652-D4899FFA9CC9}" type="datetime1">
              <a:rPr lang="en-US" smtClean="0"/>
              <a:t>5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D40463-D832-41BB-9A39-446EE8A16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2D9C73-7BF0-4669-818C-4BF97D1D5F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819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ido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3F90D4-E8BC-4294-88ED-00C733349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FFEDEA-0492-4105-8F00-06E547ED05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9A4239-3233-4B37-BE2A-B6A831BF79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05AA31-3BF9-489C-9E5C-9BB1B09735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BA0739-59DB-4328-A42E-1581C0EF580E}" type="datetime1">
              <a:rPr lang="en-US" smtClean="0"/>
              <a:t>5/1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B3E620-4372-4E02-B02E-E28ADFFEAE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211482-ECDB-427B-8FE2-735870617B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932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4CC895-1925-4090-A06E-390831E73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D834AB-E941-4F7F-9FDA-49EF612D22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0D5621-98F0-4DF8-99D4-4159DDFB75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423877-B115-439C-AA2F-F8480E9FFCF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056458-F2AF-409B-AF70-7A4595BF5A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58833CE-8C93-4EA8-921F-DB2A2F1C6E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5025DC-0CE7-49D4-82A1-580233633DDF}" type="datetime1">
              <a:rPr lang="en-US" smtClean="0"/>
              <a:t>5/11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BD8B89-FD03-4C16-ACBA-3FB2D24090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8D56A7-B472-423B-8469-97839A0A2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10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CC19ED6-B5EB-4945-B02A-DE74A81A9E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D14AA9-E516-4599-990F-22B0246ABF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EA5FE3-3DEC-4974-BBAE-A38078CE9B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fld id="{2514EFBE-A778-4A1B-9A5C-E5A57491CB66}" type="datetime1">
              <a:rPr lang="en-US" smtClean="0"/>
              <a:pPr/>
              <a:t>5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B6A82E-4618-4634-A60B-5E7EFF82E6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3AEA3B-102A-433F-B251-D900E74B5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31C89F21-BEF2-46AD-89F3-44E6BA47BFE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 descr="A stop sign&#10;&#10;Description automatically generated">
            <a:extLst>
              <a:ext uri="{FF2B5EF4-FFF2-40B4-BE49-F238E27FC236}">
                <a16:creationId xmlns:a16="http://schemas.microsoft.com/office/drawing/2014/main" id="{11970005-7169-4320-96BB-95C801E5B5E5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8248" y="274320"/>
            <a:ext cx="791688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114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0" r:id="rId2"/>
    <p:sldLayoutId id="2147483664" r:id="rId3"/>
    <p:sldLayoutId id="2147483666" r:id="rId4"/>
    <p:sldLayoutId id="2147483649" r:id="rId5"/>
    <p:sldLayoutId id="2147483661" r:id="rId6"/>
    <p:sldLayoutId id="2147483651" r:id="rId7"/>
    <p:sldLayoutId id="2147483652" r:id="rId8"/>
    <p:sldLayoutId id="2147483653" r:id="rId9"/>
    <p:sldLayoutId id="2147483654" r:id="rId10"/>
    <p:sldLayoutId id="2147483655" r:id="rId11"/>
    <p:sldLayoutId id="2147483656" r:id="rId12"/>
    <p:sldLayoutId id="2147483657" r:id="rId13"/>
    <p:sldLayoutId id="2147483658" r:id="rId14"/>
    <p:sldLayoutId id="2147483659" r:id="rId15"/>
    <p:sldLayoutId id="2147483667" r:id="rId16"/>
    <p:sldLayoutId id="2147483668" r:id="rId17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microsoft.com/office/2018/10/relationships/comments" Target="../comments/modernComment_204_BAB46E6E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emf"/><Relationship Id="rId4" Type="http://schemas.openxmlformats.org/officeDocument/2006/relationships/oleObject" Target="https://estintecedu-my.sharepoint.com/personal/1092136_est_intec_edu_do/Documents/INTEC/Trimestre%2016/Proyecto%20Mecatronico%20II/Documentaci&#243;n/SA%20-%20Bill%20of%20materialls.xlsx!Sheet1!R1C2:R19C8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microsoft.com/office/2018/10/relationships/comments" Target="../comments/modernComment_20D_951E912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emf"/><Relationship Id="rId4" Type="http://schemas.openxmlformats.org/officeDocument/2006/relationships/oleObject" Target="https://estintecedu-my.sharepoint.com/personal/1092136_est_intec_edu_do/Documents/INTEC/Trimestre%2016/Proyecto%20Mecatronico%20II/Documentaci&#243;n/SA%20-%20Bill%20of%20materialls.xlsx!Hoja%201!R3C3:R35C12" TargetMode="External"/></Relationships>
</file>

<file path=ppt/slides/_rels/slide13.xml.rels><?xml version="1.0" encoding="UTF-8" standalone="yes"?>
<Relationships xmlns="http://schemas.openxmlformats.org/package/2006/relationships"><Relationship Id="rId26" Type="http://schemas.openxmlformats.org/officeDocument/2006/relationships/tags" Target="../tags/tag27.xml"/><Relationship Id="rId21" Type="http://schemas.openxmlformats.org/officeDocument/2006/relationships/tags" Target="../tags/tag22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63" Type="http://schemas.openxmlformats.org/officeDocument/2006/relationships/tags" Target="../tags/tag64.xml"/><Relationship Id="rId68" Type="http://schemas.openxmlformats.org/officeDocument/2006/relationships/notesSlide" Target="../notesSlides/notesSlide2.xml"/><Relationship Id="rId7" Type="http://schemas.openxmlformats.org/officeDocument/2006/relationships/tags" Target="../tags/tag8.xml"/><Relationship Id="rId71" Type="http://schemas.openxmlformats.org/officeDocument/2006/relationships/image" Target="../media/image16.png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9" Type="http://schemas.openxmlformats.org/officeDocument/2006/relationships/tags" Target="../tags/tag30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66" Type="http://schemas.openxmlformats.org/officeDocument/2006/relationships/tags" Target="../tags/tag67.xml"/><Relationship Id="rId5" Type="http://schemas.openxmlformats.org/officeDocument/2006/relationships/tags" Target="../tags/tag6.xml"/><Relationship Id="rId61" Type="http://schemas.openxmlformats.org/officeDocument/2006/relationships/tags" Target="../tags/tag62.xml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64" Type="http://schemas.openxmlformats.org/officeDocument/2006/relationships/tags" Target="../tags/tag65.xml"/><Relationship Id="rId69" Type="http://schemas.microsoft.com/office/2018/10/relationships/comments" Target="../comments/modernComment_12F_0.xml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Relationship Id="rId67" Type="http://schemas.openxmlformats.org/officeDocument/2006/relationships/slideLayout" Target="../slideLayouts/slideLayout17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tags" Target="../tags/tag63.xml"/><Relationship Id="rId70" Type="http://schemas.openxmlformats.org/officeDocument/2006/relationships/oleObject" Target="../embeddings/oleObject1.bin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34" Type="http://schemas.openxmlformats.org/officeDocument/2006/relationships/tags" Target="../tags/tag35.xml"/><Relationship Id="rId50" Type="http://schemas.openxmlformats.org/officeDocument/2006/relationships/tags" Target="../tags/tag51.xml"/><Relationship Id="rId55" Type="http://schemas.openxmlformats.org/officeDocument/2006/relationships/tags" Target="../tags/tag5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microsoft.com/office/2018/10/relationships/comments" Target="../comments/modernComment_207_3766E25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jp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microsoft.com/office/2018/10/relationships/comments" Target="../comments/modernComment_200_49178A4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ED2F955-A1C1-4AF9-88E1-BCAF797EAFE0}"/>
              </a:ext>
            </a:extLst>
          </p:cNvPr>
          <p:cNvSpPr txBox="1">
            <a:spLocks/>
          </p:cNvSpPr>
          <p:nvPr/>
        </p:nvSpPr>
        <p:spPr>
          <a:xfrm>
            <a:off x="1981200" y="1600201"/>
            <a:ext cx="8001000" cy="442108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-65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pitchFamily="-65" charset="-128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pitchFamily="-65" charset="-128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pitchFamily="-65" charset="-128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pitchFamily="-65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endParaRPr lang="es-E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0B0233-649B-444A-A466-9F60B35F62FE}"/>
              </a:ext>
            </a:extLst>
          </p:cNvPr>
          <p:cNvSpPr/>
          <p:nvPr/>
        </p:nvSpPr>
        <p:spPr>
          <a:xfrm>
            <a:off x="1524000" y="338936"/>
            <a:ext cx="9144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DO" sz="2400" b="1">
                <a:solidFill>
                  <a:srgbClr val="C00000"/>
                </a:solidFill>
                <a:latin typeface="+mj-lt"/>
                <a:ea typeface="Cambria" panose="02040503050406030204" pitchFamily="18" charset="0"/>
              </a:rPr>
              <a:t>INSTITUTO TECNOLÓGICO DE SANTO DOMINGO (INTEC)</a:t>
            </a:r>
          </a:p>
          <a:p>
            <a:pPr algn="ctr"/>
            <a:r>
              <a:rPr lang="es-DO">
                <a:solidFill>
                  <a:srgbClr val="C00000"/>
                </a:solidFill>
                <a:latin typeface="+mj-lt"/>
                <a:ea typeface="Cambria" panose="02040503050406030204" pitchFamily="18" charset="0"/>
              </a:rPr>
              <a:t>Área de Ingenierí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0F03951-8209-46D3-995E-ACF842F3725A}"/>
              </a:ext>
            </a:extLst>
          </p:cNvPr>
          <p:cNvSpPr/>
          <p:nvPr/>
        </p:nvSpPr>
        <p:spPr>
          <a:xfrm>
            <a:off x="2680184" y="3436881"/>
            <a:ext cx="68316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s-DO" b="1">
                <a:latin typeface="+mj-lt"/>
                <a:ea typeface="Cambria"/>
              </a:rPr>
              <a:t>Sistema para anodizado adaptivo aplicando escaneo por seccionado de luz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9D7D9B-8592-4BDE-A3EF-B81310A95A92}"/>
              </a:ext>
            </a:extLst>
          </p:cNvPr>
          <p:cNvSpPr/>
          <p:nvPr/>
        </p:nvSpPr>
        <p:spPr>
          <a:xfrm>
            <a:off x="4387575" y="5959112"/>
            <a:ext cx="34168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DO" sz="1400" dirty="0">
                <a:ea typeface="Cambria" panose="02040503050406030204" pitchFamily="18" charset="0"/>
              </a:rPr>
              <a:t>Santo Domingo, República Dominicana 05 de mayo de 2023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5899130" y="6307319"/>
            <a:ext cx="393741" cy="365125"/>
          </a:xfrm>
          <a:prstGeom prst="rect">
            <a:avLst/>
          </a:prstGeom>
        </p:spPr>
        <p:txBody>
          <a:bodyPr/>
          <a:lstStyle/>
          <a:p>
            <a:fld id="{C39A1C5E-ABD8-497D-9251-EA120803E26C}" type="slidenum">
              <a:rPr lang="en-US" smtClean="0">
                <a:solidFill>
                  <a:schemeClr val="bg1"/>
                </a:solidFill>
              </a:rPr>
              <a:t>1</a:t>
            </a:fld>
            <a:endParaRPr lang="en-US">
              <a:solidFill>
                <a:schemeClr val="bg1"/>
              </a:solidFill>
            </a:endParaRP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88DE040-D167-45E7-97B7-7575361E8C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5180" y="1099327"/>
            <a:ext cx="2621640" cy="128016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37715AC-ABBC-4A0B-B953-47439D496085}"/>
              </a:ext>
            </a:extLst>
          </p:cNvPr>
          <p:cNvSpPr txBox="1"/>
          <p:nvPr/>
        </p:nvSpPr>
        <p:spPr>
          <a:xfrm>
            <a:off x="1569721" y="2529560"/>
            <a:ext cx="905255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DO" sz="2000">
                <a:latin typeface="+mj-lt"/>
                <a:ea typeface="Cambria" panose="02040503050406030204" pitchFamily="18" charset="0"/>
              </a:rPr>
              <a:t>PROYECTO DE INGENIERÍA MECATRÓNICA II</a:t>
            </a:r>
          </a:p>
          <a:p>
            <a:pPr algn="ctr"/>
            <a:r>
              <a:rPr lang="es-DO" sz="2000" b="1" u="sng">
                <a:latin typeface="+mj-lt"/>
                <a:ea typeface="Cambria" panose="02040503050406030204" pitchFamily="18" charset="0"/>
              </a:rPr>
              <a:t>PROYECTO DE GRADO</a:t>
            </a: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7703CB26-5158-F0F2-3546-93F3B3E666EC}"/>
              </a:ext>
            </a:extLst>
          </p:cNvPr>
          <p:cNvSpPr/>
          <p:nvPr/>
        </p:nvSpPr>
        <p:spPr>
          <a:xfrm>
            <a:off x="4524498" y="4282647"/>
            <a:ext cx="3143003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DO" sz="1400">
                <a:ea typeface="Cambria" panose="02040503050406030204" pitchFamily="18" charset="0"/>
              </a:rPr>
              <a:t>NOMBRE: IAN G. CAÑAS FDEZ.</a:t>
            </a:r>
          </a:p>
          <a:p>
            <a:pPr algn="ctr"/>
            <a:r>
              <a:rPr lang="es-DO" sz="1400">
                <a:ea typeface="Cambria" panose="02040503050406030204" pitchFamily="18" charset="0"/>
              </a:rPr>
              <a:t>ID: 1092228</a:t>
            </a:r>
          </a:p>
          <a:p>
            <a:pPr algn="ctr"/>
            <a:endParaRPr lang="es-DO" sz="1400">
              <a:ea typeface="Cambria" panose="02040503050406030204" pitchFamily="18" charset="0"/>
            </a:endParaRPr>
          </a:p>
          <a:p>
            <a:pPr algn="ctr"/>
            <a:r>
              <a:rPr lang="es-DO" sz="1400">
                <a:ea typeface="Cambria" panose="02040503050406030204" pitchFamily="18" charset="0"/>
              </a:rPr>
              <a:t>NOMBRE: SAMUEL O. TEJEDA I.</a:t>
            </a:r>
          </a:p>
          <a:p>
            <a:pPr algn="ctr"/>
            <a:r>
              <a:rPr lang="es-DO" sz="1400">
                <a:ea typeface="Cambria" panose="02040503050406030204" pitchFamily="18" charset="0"/>
              </a:rPr>
              <a:t>ID: 1092136</a:t>
            </a:r>
          </a:p>
          <a:p>
            <a:pPr algn="ctr"/>
            <a:endParaRPr lang="es-DO" sz="1400">
              <a:ea typeface="Cambria" panose="02040503050406030204" pitchFamily="18" charset="0"/>
            </a:endParaRPr>
          </a:p>
          <a:p>
            <a:pPr algn="ctr"/>
            <a:r>
              <a:rPr lang="es-DO" sz="1400">
                <a:ea typeface="Cambria" panose="02040503050406030204" pitchFamily="18" charset="0"/>
              </a:rPr>
              <a:t>ASESOR: IVAN E. JIMENEZ</a:t>
            </a:r>
          </a:p>
        </p:txBody>
      </p:sp>
    </p:spTree>
    <p:extLst>
      <p:ext uri="{BB962C8B-B14F-4D97-AF65-F5344CB8AC3E}">
        <p14:creationId xmlns:p14="http://schemas.microsoft.com/office/powerpoint/2010/main" val="2610194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10</a:t>
            </a:fld>
            <a:endParaRPr lang="en-US"/>
          </a:p>
        </p:txBody>
      </p:sp>
      <p:cxnSp>
        <p:nvCxnSpPr>
          <p:cNvPr id="6" name="Conector recto 5"/>
          <p:cNvCxnSpPr/>
          <p:nvPr/>
        </p:nvCxnSpPr>
        <p:spPr>
          <a:xfrm>
            <a:off x="1441064" y="5951082"/>
            <a:ext cx="0" cy="396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/>
          <p:cNvSpPr txBox="1"/>
          <p:nvPr/>
        </p:nvSpPr>
        <p:spPr>
          <a:xfrm>
            <a:off x="1486879" y="5895476"/>
            <a:ext cx="15672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>
                <a:solidFill>
                  <a:schemeClr val="accent1"/>
                </a:solidFill>
              </a:rPr>
              <a:t>Ingenierías - INTEC</a:t>
            </a:r>
            <a:r>
              <a:rPr lang="es-ES" sz="1400" b="1">
                <a:solidFill>
                  <a:schemeClr val="bg2">
                    <a:lumMod val="50000"/>
                  </a:schemeClr>
                </a:solidFill>
              </a:rPr>
              <a:t> 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60" y="5511514"/>
            <a:ext cx="1034880" cy="1034880"/>
          </a:xfrm>
          <a:prstGeom prst="rect">
            <a:avLst/>
          </a:prstGeom>
        </p:spPr>
      </p:pic>
      <p:sp>
        <p:nvSpPr>
          <p:cNvPr id="14" name="Título 1">
            <a:extLst>
              <a:ext uri="{FF2B5EF4-FFF2-40B4-BE49-F238E27FC236}">
                <a16:creationId xmlns:a16="http://schemas.microsoft.com/office/drawing/2014/main" id="{EF2B42E0-4C64-4C52-BF0F-F46D23499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760" y="311606"/>
            <a:ext cx="10515600" cy="653777"/>
          </a:xfrm>
        </p:spPr>
        <p:txBody>
          <a:bodyPr>
            <a:normAutofit/>
          </a:bodyPr>
          <a:lstStyle/>
          <a:p>
            <a:r>
              <a:rPr lang="es-DO" sz="3600">
                <a:solidFill>
                  <a:srgbClr val="C00000"/>
                </a:solidFill>
              </a:rPr>
              <a:t>Calendarización</a:t>
            </a:r>
            <a:endParaRPr lang="es-ES"/>
          </a:p>
        </p:txBody>
      </p:sp>
      <p:sp>
        <p:nvSpPr>
          <p:cNvPr id="8" name="CuadroTexto 11">
            <a:extLst>
              <a:ext uri="{FF2B5EF4-FFF2-40B4-BE49-F238E27FC236}">
                <a16:creationId xmlns:a16="http://schemas.microsoft.com/office/drawing/2014/main" id="{E5105F09-F4A5-4007-8794-0CA572CB8B60}"/>
              </a:ext>
            </a:extLst>
          </p:cNvPr>
          <p:cNvSpPr txBox="1"/>
          <p:nvPr/>
        </p:nvSpPr>
        <p:spPr>
          <a:xfrm>
            <a:off x="3099910" y="5891127"/>
            <a:ext cx="6096000" cy="2756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s-ES" sz="1200"/>
              <a:t>Diagrama Gantt del Desarrollo del Proyecto</a:t>
            </a:r>
            <a:endParaRPr lang="es-419" sz="12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4026EB1-BD77-62A9-7378-7B31011577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4352" y="1051240"/>
            <a:ext cx="8807116" cy="4839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891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11</a:t>
            </a:fld>
            <a:endParaRPr lang="en-US"/>
          </a:p>
        </p:txBody>
      </p:sp>
      <p:cxnSp>
        <p:nvCxnSpPr>
          <p:cNvPr id="6" name="Conector recto 5"/>
          <p:cNvCxnSpPr/>
          <p:nvPr/>
        </p:nvCxnSpPr>
        <p:spPr>
          <a:xfrm>
            <a:off x="1441064" y="5951082"/>
            <a:ext cx="0" cy="396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/>
          <p:cNvSpPr txBox="1"/>
          <p:nvPr/>
        </p:nvSpPr>
        <p:spPr>
          <a:xfrm>
            <a:off x="1486879" y="5895476"/>
            <a:ext cx="15672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>
                <a:solidFill>
                  <a:schemeClr val="accent1"/>
                </a:solidFill>
              </a:rPr>
              <a:t>Ingenierías - INTEC</a:t>
            </a:r>
            <a:r>
              <a:rPr lang="es-ES" sz="1400" b="1">
                <a:solidFill>
                  <a:schemeClr val="bg2">
                    <a:lumMod val="50000"/>
                  </a:schemeClr>
                </a:solidFill>
              </a:rPr>
              <a:t> 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60" y="5511514"/>
            <a:ext cx="1034880" cy="1034880"/>
          </a:xfrm>
          <a:prstGeom prst="rect">
            <a:avLst/>
          </a:prstGeom>
        </p:spPr>
      </p:pic>
      <p:sp>
        <p:nvSpPr>
          <p:cNvPr id="14" name="Título 1">
            <a:extLst>
              <a:ext uri="{FF2B5EF4-FFF2-40B4-BE49-F238E27FC236}">
                <a16:creationId xmlns:a16="http://schemas.microsoft.com/office/drawing/2014/main" id="{EF2B42E0-4C64-4C52-BF0F-F46D23499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760" y="510918"/>
            <a:ext cx="10515600" cy="653777"/>
          </a:xfrm>
        </p:spPr>
        <p:txBody>
          <a:bodyPr>
            <a:normAutofit fontScale="90000"/>
          </a:bodyPr>
          <a:lstStyle/>
          <a:p>
            <a:r>
              <a:rPr lang="es-ES"/>
              <a:t>Matriz de Riesgo</a:t>
            </a:r>
          </a:p>
        </p:txBody>
      </p:sp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B0E599B4-5A19-C2D6-B27B-76AD37C0DD1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24436402"/>
              </p:ext>
            </p:extLst>
          </p:nvPr>
        </p:nvGraphicFramePr>
        <p:xfrm>
          <a:off x="1759439" y="1193807"/>
          <a:ext cx="8673121" cy="44703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12991923" imgH="6696095" progId="Excel.Sheet.12">
                  <p:link updateAutomatic="1"/>
                </p:oleObj>
              </mc:Choice>
              <mc:Fallback>
                <p:oleObj name="Worksheet" r:id="rId4" imgW="12991923" imgH="6696095" progId="Excel.Sheet.12">
                  <p:link updateAutomatic="1"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B0E599B4-5A19-C2D6-B27B-76AD37C0D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9439" y="1193807"/>
                        <a:ext cx="8673121" cy="44703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32386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12</a:t>
            </a:fld>
            <a:endParaRPr lang="en-US"/>
          </a:p>
        </p:txBody>
      </p:sp>
      <p:cxnSp>
        <p:nvCxnSpPr>
          <p:cNvPr id="6" name="Conector recto 5"/>
          <p:cNvCxnSpPr/>
          <p:nvPr/>
        </p:nvCxnSpPr>
        <p:spPr>
          <a:xfrm>
            <a:off x="1441064" y="5951082"/>
            <a:ext cx="0" cy="396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/>
          <p:cNvSpPr txBox="1"/>
          <p:nvPr/>
        </p:nvSpPr>
        <p:spPr>
          <a:xfrm>
            <a:off x="1486879" y="5895476"/>
            <a:ext cx="15672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>
                <a:solidFill>
                  <a:schemeClr val="accent1"/>
                </a:solidFill>
              </a:rPr>
              <a:t>Ingenierías - INTEC</a:t>
            </a:r>
            <a:r>
              <a:rPr lang="es-ES" sz="1400" b="1">
                <a:solidFill>
                  <a:schemeClr val="bg2">
                    <a:lumMod val="50000"/>
                  </a:schemeClr>
                </a:solidFill>
              </a:rPr>
              <a:t> 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60" y="5511514"/>
            <a:ext cx="1034880" cy="1034880"/>
          </a:xfrm>
          <a:prstGeom prst="rect">
            <a:avLst/>
          </a:prstGeom>
        </p:spPr>
      </p:pic>
      <p:sp>
        <p:nvSpPr>
          <p:cNvPr id="14" name="Título 1">
            <a:extLst>
              <a:ext uri="{FF2B5EF4-FFF2-40B4-BE49-F238E27FC236}">
                <a16:creationId xmlns:a16="http://schemas.microsoft.com/office/drawing/2014/main" id="{EF2B42E0-4C64-4C52-BF0F-F46D23499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760" y="439304"/>
            <a:ext cx="10515600" cy="653777"/>
          </a:xfrm>
        </p:spPr>
        <p:txBody>
          <a:bodyPr>
            <a:normAutofit fontScale="90000"/>
          </a:bodyPr>
          <a:lstStyle/>
          <a:p>
            <a:r>
              <a:rPr lang="es-ES"/>
              <a:t>Presupuesto</a:t>
            </a:r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3FB96686-311D-0F05-E886-EDB465F23B1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80046009"/>
              </p:ext>
            </p:extLst>
          </p:nvPr>
        </p:nvGraphicFramePr>
        <p:xfrm>
          <a:off x="1140375" y="1450621"/>
          <a:ext cx="9911250" cy="44448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16268877" imgH="6496187" progId="Excel.Sheet.12">
                  <p:link updateAutomatic="1"/>
                </p:oleObj>
              </mc:Choice>
              <mc:Fallback>
                <p:oleObj name="Worksheet" r:id="rId4" imgW="16268877" imgH="6496187" progId="Excel.Sheet.12">
                  <p:link updateAutomatic="1"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3FB96686-311D-0F05-E886-EDB465F23B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0375" y="1450621"/>
                        <a:ext cx="9911250" cy="44448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01808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Rectangle 135"/>
          <p:cNvSpPr/>
          <p:nvPr/>
        </p:nvSpPr>
        <p:spPr>
          <a:xfrm>
            <a:off x="1707600" y="69600"/>
            <a:ext cx="8763000" cy="6924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130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610600" y="838201"/>
            <a:ext cx="887412" cy="576263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4" name="Rectangle 133"/>
          <p:cNvSpPr/>
          <p:nvPr/>
        </p:nvSpPr>
        <p:spPr>
          <a:xfrm>
            <a:off x="8610600" y="838200"/>
            <a:ext cx="889200" cy="3048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127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781801" y="838201"/>
            <a:ext cx="1755775" cy="576263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6781800" y="838200"/>
            <a:ext cx="1752600" cy="3048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6781800" y="2438400"/>
            <a:ext cx="3657600" cy="3048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1706880" y="4114800"/>
            <a:ext cx="5029200" cy="3048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080" name="Rectangle 2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06564" y="838201"/>
            <a:ext cx="5075237" cy="576263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081" name="AutoShape 21"/>
          <p:cNvSpPr>
            <a:spLocks noChangeArrowheads="1"/>
          </p:cNvSpPr>
          <p:nvPr>
            <p:custDataLst>
              <p:tags r:id="rId4"/>
            </p:custDataLst>
          </p:nvPr>
        </p:nvSpPr>
        <p:spPr bwMode="blackWhite">
          <a:xfrm>
            <a:off x="1704776" y="871869"/>
            <a:ext cx="5058323" cy="306467"/>
          </a:xfrm>
          <a:prstGeom prst="roundRect">
            <a:avLst>
              <a:gd name="adj" fmla="val 16667"/>
            </a:avLst>
          </a:prstGeom>
          <a:noFill/>
        </p:spPr>
        <p:txBody>
          <a:bodyPr wrap="square">
            <a:spAutoFit/>
          </a:bodyPr>
          <a:lstStyle/>
          <a:p>
            <a:pPr defTabSz="933450" eaLnBrk="0" hangingPunct="0">
              <a:defRPr/>
            </a:pPr>
            <a:r>
              <a:rPr lang="es-ES" sz="1200">
                <a:solidFill>
                  <a:prstClr val="black"/>
                </a:solidFill>
                <a:latin typeface="Calibri"/>
                <a:cs typeface="Arial"/>
              </a:rPr>
              <a:t>Sistema de anodizado aplicando modelo para recreación de objetos </a:t>
            </a:r>
          </a:p>
        </p:txBody>
      </p:sp>
      <p:sp>
        <p:nvSpPr>
          <p:cNvPr id="8254" name="Rectangle 62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1752600" y="501134"/>
            <a:ext cx="8686800" cy="184666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rtlCol="0" anchor="ctr">
            <a:spAutoFit/>
          </a:bodyPr>
          <a:lstStyle/>
          <a:p>
            <a:pPr eaLnBrk="1" hangingPunct="1">
              <a:defRPr/>
            </a:pPr>
            <a:r>
              <a:rPr lang="es-VE" sz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rPr>
              <a:t>REPORTE DE AVANCE DE PROYECTO</a:t>
            </a:r>
          </a:p>
        </p:txBody>
      </p:sp>
      <p:graphicFrame>
        <p:nvGraphicFramePr>
          <p:cNvPr id="3074" name="Rectangle 78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1524001" y="1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70" imgW="0" imgH="0" progId="">
                  <p:embed/>
                </p:oleObj>
              </mc:Choice>
              <mc:Fallback>
                <p:oleObj r:id="rId70" imgW="0" imgH="0" progId="">
                  <p:embed/>
                  <p:pic>
                    <p:nvPicPr>
                      <p:cNvPr id="3074" name="Rectangle 7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1" y="1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89" name="Rectangle 79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524001" y="1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5914" tIns="0" rIns="25914" bIns="0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es-VE" sz="1600">
                <a:solidFill>
                  <a:srgbClr val="000000"/>
                </a:solidFill>
                <a:latin typeface="Arial" charset="0"/>
                <a:cs typeface="Arial" charset="0"/>
              </a:rPr>
              <a:t>18</a:t>
            </a:r>
          </a:p>
        </p:txBody>
      </p:sp>
      <p:sp>
        <p:nvSpPr>
          <p:cNvPr id="3128" name="Rectangle 1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0700" y="882959"/>
            <a:ext cx="1574800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1200" b="1">
                <a:solidFill>
                  <a:schemeClr val="bg1"/>
                </a:solidFill>
                <a:latin typeface="Arial" charset="0"/>
                <a:cs typeface="Arial" charset="0"/>
              </a:rPr>
              <a:t>Líder de Proyecto</a:t>
            </a:r>
          </a:p>
        </p:txBody>
      </p:sp>
      <p:sp>
        <p:nvSpPr>
          <p:cNvPr id="3131" name="Rectangle 1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655050" y="869311"/>
            <a:ext cx="668338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1200" b="1">
                <a:solidFill>
                  <a:schemeClr val="bg1"/>
                </a:solidFill>
                <a:latin typeface="Arial" charset="0"/>
                <a:cs typeface="Arial" charset="0"/>
              </a:rPr>
              <a:t>Fecha</a:t>
            </a:r>
          </a:p>
        </p:txBody>
      </p:sp>
      <p:sp>
        <p:nvSpPr>
          <p:cNvPr id="3204" name="McK Measure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752600" y="4161477"/>
            <a:ext cx="3258744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es-VE" sz="1200" b="1">
                <a:solidFill>
                  <a:schemeClr val="bg1"/>
                </a:solidFill>
                <a:cs typeface="Arial" charset="0"/>
              </a:rPr>
              <a:t>Actividades</a:t>
            </a:r>
            <a:r>
              <a:rPr lang="es-VE" sz="1200" b="1">
                <a:solidFill>
                  <a:srgbClr val="002960"/>
                </a:solidFill>
                <a:latin typeface="Arial" charset="0"/>
                <a:cs typeface="Arial" charset="0"/>
              </a:rPr>
              <a:t> </a:t>
            </a:r>
            <a:r>
              <a:rPr lang="es-VE" sz="1200" b="1">
                <a:solidFill>
                  <a:schemeClr val="bg1"/>
                </a:solidFill>
                <a:cs typeface="Arial" charset="0"/>
              </a:rPr>
              <a:t>relevantes</a:t>
            </a:r>
            <a:r>
              <a:rPr lang="es-VE" sz="1200" b="1">
                <a:solidFill>
                  <a:srgbClr val="002960"/>
                </a:solidFill>
                <a:latin typeface="Arial" charset="0"/>
                <a:cs typeface="Arial" charset="0"/>
              </a:rPr>
              <a:t> </a:t>
            </a:r>
            <a:r>
              <a:rPr lang="es-VE" sz="1200" b="1">
                <a:solidFill>
                  <a:schemeClr val="bg1"/>
                </a:solidFill>
                <a:cs typeface="Arial" charset="0"/>
              </a:rPr>
              <a:t>próxima</a:t>
            </a:r>
            <a:r>
              <a:rPr lang="es-VE" sz="1200" b="1">
                <a:solidFill>
                  <a:srgbClr val="002960"/>
                </a:solidFill>
                <a:latin typeface="Arial" charset="0"/>
                <a:cs typeface="Arial" charset="0"/>
              </a:rPr>
              <a:t> </a:t>
            </a:r>
            <a:r>
              <a:rPr lang="es-VE" sz="1200" b="1">
                <a:solidFill>
                  <a:schemeClr val="bg1"/>
                </a:solidFill>
                <a:cs typeface="Arial" charset="0"/>
              </a:rPr>
              <a:t>semana</a:t>
            </a:r>
          </a:p>
        </p:txBody>
      </p:sp>
      <p:sp>
        <p:nvSpPr>
          <p:cNvPr id="3167" name="McK Measure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905625" y="2491397"/>
            <a:ext cx="2165350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es-VE" sz="1200" b="1">
                <a:solidFill>
                  <a:schemeClr val="bg1"/>
                </a:solidFill>
                <a:latin typeface="Arial" charset="0"/>
                <a:cs typeface="Arial" charset="0"/>
              </a:rPr>
              <a:t>Plan de trabajo (milestones)</a:t>
            </a:r>
            <a:endParaRPr lang="es-VE" sz="120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150" name="Rectangle 149"/>
          <p:cNvSpPr/>
          <p:nvPr/>
        </p:nvSpPr>
        <p:spPr>
          <a:xfrm>
            <a:off x="1700306" y="6151433"/>
            <a:ext cx="4389120" cy="6096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6088380" y="6151433"/>
            <a:ext cx="4389120" cy="6096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1706880" y="5846633"/>
            <a:ext cx="4389120" cy="3048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4" name="McK Measure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752600" y="5892671"/>
            <a:ext cx="3309938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es-VE" sz="1200" b="1">
                <a:solidFill>
                  <a:schemeClr val="bg1"/>
                </a:solidFill>
                <a:cs typeface="Arial" charset="0"/>
              </a:rPr>
              <a:t>Puntos</a:t>
            </a:r>
            <a:r>
              <a:rPr lang="es-VE" sz="1200" b="1">
                <a:solidFill>
                  <a:srgbClr val="002960"/>
                </a:solidFill>
                <a:latin typeface="Arial" charset="0"/>
                <a:cs typeface="Arial" charset="0"/>
              </a:rPr>
              <a:t> </a:t>
            </a:r>
            <a:r>
              <a:rPr lang="es-VE" sz="1200" b="1">
                <a:solidFill>
                  <a:schemeClr val="bg1"/>
                </a:solidFill>
                <a:cs typeface="Arial" charset="0"/>
              </a:rPr>
              <a:t>que</a:t>
            </a:r>
            <a:r>
              <a:rPr lang="es-VE" sz="1200" b="1">
                <a:solidFill>
                  <a:srgbClr val="002960"/>
                </a:solidFill>
                <a:latin typeface="Arial" charset="0"/>
                <a:cs typeface="Arial" charset="0"/>
              </a:rPr>
              <a:t> </a:t>
            </a:r>
            <a:r>
              <a:rPr lang="es-VE" sz="1200" b="1">
                <a:solidFill>
                  <a:schemeClr val="bg1"/>
                </a:solidFill>
                <a:cs typeface="Arial" charset="0"/>
              </a:rPr>
              <a:t>requieren</a:t>
            </a:r>
            <a:r>
              <a:rPr lang="es-VE" sz="1200" b="1">
                <a:solidFill>
                  <a:srgbClr val="002960"/>
                </a:solidFill>
                <a:latin typeface="Arial" charset="0"/>
                <a:cs typeface="Arial" charset="0"/>
              </a:rPr>
              <a:t> </a:t>
            </a:r>
            <a:r>
              <a:rPr lang="es-VE" sz="1200" b="1">
                <a:solidFill>
                  <a:schemeClr val="bg1"/>
                </a:solidFill>
                <a:cs typeface="Arial" charset="0"/>
              </a:rPr>
              <a:t>atención</a:t>
            </a:r>
          </a:p>
        </p:txBody>
      </p:sp>
      <p:sp>
        <p:nvSpPr>
          <p:cNvPr id="155" name="Rectangle 154"/>
          <p:cNvSpPr/>
          <p:nvPr/>
        </p:nvSpPr>
        <p:spPr>
          <a:xfrm>
            <a:off x="6088380" y="5846633"/>
            <a:ext cx="4389120" cy="3048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6" name="McK Measure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134100" y="5892671"/>
            <a:ext cx="2724250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es-VE" sz="1200" b="1">
                <a:solidFill>
                  <a:schemeClr val="bg1"/>
                </a:solidFill>
                <a:cs typeface="Arial" charset="0"/>
              </a:rPr>
              <a:t>Riesgos y planes de mitigación</a:t>
            </a:r>
          </a:p>
        </p:txBody>
      </p:sp>
      <p:sp>
        <p:nvSpPr>
          <p:cNvPr id="158" name="Rectangle 157"/>
          <p:cNvSpPr/>
          <p:nvPr/>
        </p:nvSpPr>
        <p:spPr>
          <a:xfrm>
            <a:off x="1706880" y="4432300"/>
            <a:ext cx="5029200" cy="1358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9" name="Rectangle 158"/>
          <p:cNvSpPr/>
          <p:nvPr/>
        </p:nvSpPr>
        <p:spPr>
          <a:xfrm>
            <a:off x="1706880" y="2438400"/>
            <a:ext cx="5029200" cy="3048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60" name="McK Measure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752600" y="2486464"/>
            <a:ext cx="4681538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es-VE" sz="1200" b="1">
                <a:solidFill>
                  <a:schemeClr val="bg1"/>
                </a:solidFill>
                <a:cs typeface="Arial" charset="0"/>
              </a:rPr>
              <a:t>Actividades</a:t>
            </a:r>
            <a:r>
              <a:rPr lang="es-VE" sz="1200" b="1">
                <a:solidFill>
                  <a:srgbClr val="002960"/>
                </a:solidFill>
                <a:latin typeface="Arial" charset="0"/>
                <a:cs typeface="Arial" charset="0"/>
              </a:rPr>
              <a:t> </a:t>
            </a:r>
            <a:r>
              <a:rPr lang="es-VE" sz="1200" b="1">
                <a:solidFill>
                  <a:schemeClr val="bg1"/>
                </a:solidFill>
                <a:cs typeface="Arial" charset="0"/>
              </a:rPr>
              <a:t>claves de la semana</a:t>
            </a:r>
          </a:p>
        </p:txBody>
      </p:sp>
      <p:sp>
        <p:nvSpPr>
          <p:cNvPr id="163" name="Rectangle 162"/>
          <p:cNvSpPr/>
          <p:nvPr/>
        </p:nvSpPr>
        <p:spPr>
          <a:xfrm>
            <a:off x="1706880" y="2743200"/>
            <a:ext cx="5029200" cy="133065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64" name="Rectangle 163"/>
          <p:cNvSpPr/>
          <p:nvPr/>
        </p:nvSpPr>
        <p:spPr>
          <a:xfrm>
            <a:off x="6781800" y="2440998"/>
            <a:ext cx="3657600" cy="334409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1752599" y="1809691"/>
            <a:ext cx="538160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DO" sz="1200">
                <a:solidFill>
                  <a:prstClr val="black"/>
                </a:solidFill>
                <a:latin typeface="Calibri"/>
                <a:cs typeface="Arial"/>
              </a:rPr>
              <a:t>Mediante uso de visión maquina, el sistema va a recrear un modelo de la pieza y le aplicara el proceso de anodizado.</a:t>
            </a:r>
            <a:endParaRPr lang="en-US" sz="120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9096397" y="1928803"/>
            <a:ext cx="125888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200" dirty="0">
                <a:solidFill>
                  <a:prstClr val="black"/>
                </a:solidFill>
                <a:latin typeface="Calibri"/>
                <a:cs typeface="Arial"/>
              </a:rPr>
              <a:t>10 %</a:t>
            </a:r>
          </a:p>
        </p:txBody>
      </p:sp>
      <p:sp>
        <p:nvSpPr>
          <p:cNvPr id="171" name="Rectangle 170"/>
          <p:cNvSpPr/>
          <p:nvPr/>
        </p:nvSpPr>
        <p:spPr>
          <a:xfrm>
            <a:off x="1703696" y="1788923"/>
            <a:ext cx="5611504" cy="6096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s-DO" sz="12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2" name="Rectangle 171"/>
          <p:cNvSpPr/>
          <p:nvPr/>
        </p:nvSpPr>
        <p:spPr>
          <a:xfrm>
            <a:off x="8915400" y="1788923"/>
            <a:ext cx="1565490" cy="6096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3" name="Rectangle 172"/>
          <p:cNvSpPr/>
          <p:nvPr/>
        </p:nvSpPr>
        <p:spPr>
          <a:xfrm>
            <a:off x="1710270" y="1484123"/>
            <a:ext cx="5604930" cy="3048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4" name="McK Measure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755990" y="1530161"/>
            <a:ext cx="3309938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es-VE" sz="1200" b="1">
                <a:solidFill>
                  <a:schemeClr val="bg1"/>
                </a:solidFill>
                <a:cs typeface="Arial" charset="0"/>
              </a:rPr>
              <a:t>Descripción del Proyecto</a:t>
            </a:r>
            <a:endParaRPr lang="es-VE" sz="120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175" name="Rectangle 174"/>
          <p:cNvSpPr/>
          <p:nvPr/>
        </p:nvSpPr>
        <p:spPr>
          <a:xfrm>
            <a:off x="7315200" y="1484123"/>
            <a:ext cx="3165690" cy="3048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6" name="McK Measure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9372600" y="1548824"/>
            <a:ext cx="914400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es-VE" sz="1200" b="1">
                <a:solidFill>
                  <a:schemeClr val="bg1"/>
                </a:solidFill>
                <a:cs typeface="Arial" charset="0"/>
              </a:rPr>
              <a:t>Ejecución</a:t>
            </a:r>
          </a:p>
        </p:txBody>
      </p:sp>
      <p:sp>
        <p:nvSpPr>
          <p:cNvPr id="51" name="Rectangle 1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76558" y="1181435"/>
            <a:ext cx="175260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33450" eaLnBrk="0" hangingPunct="0">
              <a:buSzPct val="120000"/>
              <a:defRPr/>
            </a:pPr>
            <a:r>
              <a:rPr lang="es-VE" sz="800" b="1">
                <a:solidFill>
                  <a:prstClr val="black"/>
                </a:solidFill>
                <a:latin typeface="Calibri"/>
                <a:cs typeface="Arial"/>
              </a:rPr>
              <a:t>Ian Ca</a:t>
            </a:r>
            <a:r>
              <a:rPr lang="es-DO" sz="800" b="1" err="1">
                <a:solidFill>
                  <a:prstClr val="black"/>
                </a:solidFill>
                <a:latin typeface="Calibri"/>
                <a:cs typeface="Arial"/>
              </a:rPr>
              <a:t>ñas</a:t>
            </a:r>
            <a:endParaRPr lang="es-VE" sz="800" b="1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52" name="Rectangle 10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604101" y="1137134"/>
            <a:ext cx="914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33450" eaLnBrk="0" hangingPunct="0">
              <a:buSzPct val="120000"/>
              <a:defRPr/>
            </a:pPr>
            <a:r>
              <a:rPr lang="es-VE" sz="1200">
                <a:solidFill>
                  <a:prstClr val="black"/>
                </a:solidFill>
                <a:latin typeface="Calibri"/>
                <a:cs typeface="Arial"/>
              </a:rPr>
              <a:t>11 – 08 - 22</a:t>
            </a:r>
          </a:p>
          <a:p>
            <a:pPr defTabSz="933450" eaLnBrk="0" hangingPunct="0">
              <a:buSzPct val="120000"/>
              <a:defRPr/>
            </a:pPr>
            <a:endParaRPr lang="es-VE" sz="120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57" name="Line 193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>
            <a:off x="7923212" y="3124222"/>
            <a:ext cx="0" cy="253218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8" name="Line 194"/>
          <p:cNvSpPr>
            <a:spLocks noChangeShapeType="1"/>
          </p:cNvSpPr>
          <p:nvPr>
            <p:custDataLst>
              <p:tags r:id="rId20"/>
            </p:custDataLst>
          </p:nvPr>
        </p:nvSpPr>
        <p:spPr bwMode="auto">
          <a:xfrm>
            <a:off x="8396287" y="3124222"/>
            <a:ext cx="0" cy="252513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9" name="Line 195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8869362" y="3124222"/>
            <a:ext cx="0" cy="252513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0" name="Line 196"/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>
            <a:off x="9345612" y="3124222"/>
            <a:ext cx="0" cy="252513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1" name="Line 197"/>
          <p:cNvSpPr>
            <a:spLocks noChangeShapeType="1"/>
          </p:cNvSpPr>
          <p:nvPr>
            <p:custDataLst>
              <p:tags r:id="rId23"/>
            </p:custDataLst>
          </p:nvPr>
        </p:nvSpPr>
        <p:spPr bwMode="auto">
          <a:xfrm flipV="1">
            <a:off x="6787439" y="5657886"/>
            <a:ext cx="3648891" cy="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2" name="Line 198"/>
          <p:cNvSpPr>
            <a:spLocks noChangeShapeType="1"/>
          </p:cNvSpPr>
          <p:nvPr>
            <p:custDataLst>
              <p:tags r:id="rId24"/>
            </p:custDataLst>
          </p:nvPr>
        </p:nvSpPr>
        <p:spPr bwMode="auto">
          <a:xfrm flipV="1">
            <a:off x="6787439" y="3119519"/>
            <a:ext cx="3657599" cy="7011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3" name="Line 199"/>
          <p:cNvSpPr>
            <a:spLocks noChangeShapeType="1"/>
          </p:cNvSpPr>
          <p:nvPr>
            <p:custDataLst>
              <p:tags r:id="rId25"/>
            </p:custDataLst>
          </p:nvPr>
        </p:nvSpPr>
        <p:spPr bwMode="gray">
          <a:xfrm>
            <a:off x="8858351" y="3423057"/>
            <a:ext cx="1009236" cy="5467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4" name="Rectangle 200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7145504" y="4278522"/>
            <a:ext cx="758825" cy="225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>
                <a:solidFill>
                  <a:srgbClr val="000000"/>
                </a:solidFill>
                <a:latin typeface="Arial" charset="0"/>
                <a:cs typeface="Arial" charset="0"/>
              </a:rPr>
              <a:t>Ensamblado</a:t>
            </a:r>
          </a:p>
        </p:txBody>
      </p:sp>
      <p:sp>
        <p:nvSpPr>
          <p:cNvPr id="65" name="Rectangle 20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7157873" y="3665926"/>
            <a:ext cx="758825" cy="25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>
                <a:solidFill>
                  <a:srgbClr val="000000"/>
                </a:solidFill>
                <a:latin typeface="Arial" charset="0"/>
                <a:cs typeface="Arial" charset="0"/>
              </a:rPr>
              <a:t>Diseño</a:t>
            </a: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endParaRPr lang="es-VE" sz="8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6" name="Rectangle 202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7157873" y="3375796"/>
            <a:ext cx="758825" cy="190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>
                <a:solidFill>
                  <a:srgbClr val="000000"/>
                </a:solidFill>
                <a:cs typeface="Arial" charset="0"/>
              </a:rPr>
              <a:t>Documentación	</a:t>
            </a:r>
            <a:endParaRPr lang="es-VE" sz="8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7" name="Rectangle 203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7151049" y="3998940"/>
            <a:ext cx="758825" cy="228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>
                <a:solidFill>
                  <a:srgbClr val="000000"/>
                </a:solidFill>
                <a:latin typeface="Arial" charset="0"/>
                <a:cs typeface="Arial" charset="0"/>
              </a:rPr>
              <a:t>Energía</a:t>
            </a:r>
          </a:p>
        </p:txBody>
      </p:sp>
      <p:sp>
        <p:nvSpPr>
          <p:cNvPr id="68" name="Rectangle 205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7062788" y="2891459"/>
            <a:ext cx="468313" cy="18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 b="1">
                <a:solidFill>
                  <a:srgbClr val="000000"/>
                </a:solidFill>
                <a:latin typeface="Arial" charset="0"/>
                <a:cs typeface="Arial" charset="0"/>
              </a:rPr>
              <a:t>Actividad</a:t>
            </a:r>
          </a:p>
        </p:txBody>
      </p:sp>
      <p:sp>
        <p:nvSpPr>
          <p:cNvPr id="69" name="Rectangle 206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9979137" y="2915481"/>
            <a:ext cx="457200" cy="18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 b="1">
                <a:solidFill>
                  <a:srgbClr val="000000"/>
                </a:solidFill>
                <a:latin typeface="Arial" charset="0"/>
                <a:cs typeface="Arial" charset="0"/>
              </a:rPr>
              <a:t>Progreso</a:t>
            </a:r>
          </a:p>
        </p:txBody>
      </p:sp>
      <p:sp>
        <p:nvSpPr>
          <p:cNvPr id="71" name="Oval 208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6858000" y="3312601"/>
            <a:ext cx="228600" cy="267745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s-DO" sz="700">
                <a:solidFill>
                  <a:srgbClr val="000000"/>
                </a:solidFill>
                <a:latin typeface="Arial" charset="0"/>
                <a:cs typeface="Arial" charset="0"/>
              </a:rPr>
              <a:t>1</a:t>
            </a: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79" name="Oval 216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10131641" y="3607427"/>
            <a:ext cx="169863" cy="232763"/>
          </a:xfrm>
          <a:prstGeom prst="ellipse">
            <a:avLst/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0" name="Oval 217">
            <a:hlinkClick r:id="" action="ppaction://noaction"/>
          </p:cNvPr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10128556" y="4240683"/>
            <a:ext cx="169863" cy="232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D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" name="Oval 223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10128557" y="3941612"/>
            <a:ext cx="169863" cy="232763"/>
          </a:xfrm>
          <a:prstGeom prst="ellipse">
            <a:avLst/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D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8" name="Oval 227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10131608" y="4554977"/>
            <a:ext cx="169863" cy="232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D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9" name="Rectangle 228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7160614" y="4934544"/>
            <a:ext cx="758825" cy="225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>
                <a:solidFill>
                  <a:srgbClr val="000000"/>
                </a:solidFill>
                <a:cs typeface="Arial" charset="0"/>
              </a:rPr>
              <a:t>Prueba</a:t>
            </a:r>
            <a:endParaRPr lang="es-VE" sz="8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3" name="Oval 232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10126889" y="4890272"/>
            <a:ext cx="169863" cy="232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D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4" name="Oval 233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10131641" y="3319231"/>
            <a:ext cx="169863" cy="232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5" name="Line 234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>
            <a:off x="8147998" y="3112465"/>
            <a:ext cx="3814" cy="25392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6" name="Line 235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>
            <a:off x="9104312" y="3126573"/>
            <a:ext cx="0" cy="252513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7" name="Line 236"/>
          <p:cNvSpPr>
            <a:spLocks noChangeShapeType="1"/>
          </p:cNvSpPr>
          <p:nvPr>
            <p:custDataLst>
              <p:tags r:id="rId42"/>
            </p:custDataLst>
          </p:nvPr>
        </p:nvSpPr>
        <p:spPr bwMode="auto">
          <a:xfrm>
            <a:off x="9599612" y="3131276"/>
            <a:ext cx="0" cy="252513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8" name="Line 237"/>
          <p:cNvSpPr>
            <a:spLocks noChangeShapeType="1"/>
          </p:cNvSpPr>
          <p:nvPr>
            <p:custDataLst>
              <p:tags r:id="rId43"/>
            </p:custDataLst>
          </p:nvPr>
        </p:nvSpPr>
        <p:spPr bwMode="auto">
          <a:xfrm>
            <a:off x="8634412" y="3131276"/>
            <a:ext cx="0" cy="252513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0" name="Rectangle 239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7854158" y="2911972"/>
            <a:ext cx="138110" cy="28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 b="1">
                <a:solidFill>
                  <a:srgbClr val="000000"/>
                </a:solidFill>
                <a:cs typeface="Arial" charset="0"/>
              </a:rPr>
              <a:t>S1</a:t>
            </a:r>
            <a:endParaRPr lang="es-VE" sz="800" b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2" name="Line 241"/>
          <p:cNvSpPr>
            <a:spLocks noChangeShapeType="1"/>
          </p:cNvSpPr>
          <p:nvPr>
            <p:custDataLst>
              <p:tags r:id="rId45"/>
            </p:custDataLst>
          </p:nvPr>
        </p:nvSpPr>
        <p:spPr bwMode="auto">
          <a:xfrm>
            <a:off x="9866311" y="3112465"/>
            <a:ext cx="8243" cy="254582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6" name="Line 199"/>
          <p:cNvSpPr>
            <a:spLocks noChangeShapeType="1"/>
          </p:cNvSpPr>
          <p:nvPr>
            <p:custDataLst>
              <p:tags r:id="rId46"/>
            </p:custDataLst>
          </p:nvPr>
        </p:nvSpPr>
        <p:spPr bwMode="gray">
          <a:xfrm>
            <a:off x="8383241" y="4342886"/>
            <a:ext cx="505171" cy="7011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8" name="Rectangle 228"/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7145504" y="4594348"/>
            <a:ext cx="758825" cy="225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>
                <a:solidFill>
                  <a:srgbClr val="000000"/>
                </a:solidFill>
                <a:cs typeface="Arial" charset="0"/>
              </a:rPr>
              <a:t>Programación</a:t>
            </a:r>
            <a:endParaRPr lang="es-VE" sz="8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752600" y="2854657"/>
            <a:ext cx="252716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s-DO" sz="1200">
                <a:solidFill>
                  <a:prstClr val="black"/>
                </a:solidFill>
                <a:latin typeface="Calibri"/>
                <a:cs typeface="Arial"/>
              </a:rPr>
              <a:t> Rediseñar modelo CAD</a:t>
            </a:r>
          </a:p>
          <a:p>
            <a: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s-DO" sz="1200">
                <a:solidFill>
                  <a:prstClr val="black"/>
                </a:solidFill>
                <a:latin typeface="Calibri"/>
                <a:cs typeface="Arial"/>
              </a:rPr>
              <a:t> Crear Presupuesto</a:t>
            </a:r>
          </a:p>
          <a:p>
            <a: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s-DO" sz="1200">
                <a:solidFill>
                  <a:prstClr val="black"/>
                </a:solidFill>
                <a:latin typeface="Calibri"/>
                <a:cs typeface="Arial"/>
              </a:rPr>
              <a:t> Comprar Componentes y Materiales</a:t>
            </a:r>
          </a:p>
          <a:p>
            <a: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s-DO" sz="1200">
                <a:solidFill>
                  <a:prstClr val="black"/>
                </a:solidFill>
                <a:latin typeface="Calibri"/>
                <a:cs typeface="Arial"/>
              </a:rPr>
              <a:t> Hacer modelo para recreación de pieza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1814431" y="4495019"/>
            <a:ext cx="4343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s-DO" sz="1200">
                <a:solidFill>
                  <a:prstClr val="black"/>
                </a:solidFill>
                <a:latin typeface="Calibri"/>
                <a:cs typeface="Arial"/>
              </a:rPr>
              <a:t> Ensamblar Sistema de Transporte</a:t>
            </a:r>
          </a:p>
          <a:p>
            <a: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s-DO" sz="1200">
                <a:solidFill>
                  <a:prstClr val="black"/>
                </a:solidFill>
                <a:latin typeface="Calibri"/>
                <a:cs typeface="Arial"/>
              </a:rPr>
              <a:t> Inicio de Sistema de Manipulación </a:t>
            </a:r>
          </a:p>
        </p:txBody>
      </p:sp>
      <p:sp>
        <p:nvSpPr>
          <p:cNvPr id="114" name="Oval 208"/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6858000" y="3617401"/>
            <a:ext cx="228600" cy="267745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s-DO" sz="700">
                <a:solidFill>
                  <a:srgbClr val="000000"/>
                </a:solidFill>
                <a:latin typeface="Arial" charset="0"/>
                <a:cs typeface="Arial" charset="0"/>
              </a:rPr>
              <a:t>2</a:t>
            </a: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5" name="Oval 208"/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6858000" y="3922201"/>
            <a:ext cx="228600" cy="267745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s-DO" sz="700">
                <a:solidFill>
                  <a:srgbClr val="000000"/>
                </a:solidFill>
                <a:latin typeface="Arial" charset="0"/>
                <a:cs typeface="Arial" charset="0"/>
              </a:rPr>
              <a:t>3</a:t>
            </a: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6" name="Oval 208"/>
          <p:cNvSpPr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6858000" y="4227001"/>
            <a:ext cx="228600" cy="267745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s-DO" sz="700">
                <a:solidFill>
                  <a:srgbClr val="000000"/>
                </a:solidFill>
                <a:cs typeface="Arial" charset="0"/>
              </a:rPr>
              <a:t>4</a:t>
            </a: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7" name="Oval 208"/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6858000" y="4531801"/>
            <a:ext cx="228600" cy="267745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s-DO" sz="700">
                <a:solidFill>
                  <a:srgbClr val="000000"/>
                </a:solidFill>
                <a:cs typeface="Arial" charset="0"/>
              </a:rPr>
              <a:t>5</a:t>
            </a: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8" name="Oval 208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6858000" y="4873656"/>
            <a:ext cx="228600" cy="267745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s-DO" sz="700">
                <a:solidFill>
                  <a:srgbClr val="000000"/>
                </a:solidFill>
                <a:cs typeface="Arial" charset="0"/>
              </a:rPr>
              <a:t>6</a:t>
            </a: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3" name="McK Measure"/>
          <p:cNvSpPr txBox="1"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7543800" y="1548824"/>
            <a:ext cx="1066800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es-VE" sz="1200" b="1">
                <a:solidFill>
                  <a:schemeClr val="bg1"/>
                </a:solidFill>
                <a:cs typeface="Arial" charset="0"/>
              </a:rPr>
              <a:t>Planificación</a:t>
            </a:r>
          </a:p>
        </p:txBody>
      </p:sp>
      <p:sp>
        <p:nvSpPr>
          <p:cNvPr id="126" name="Rectangle 125"/>
          <p:cNvSpPr/>
          <p:nvPr/>
        </p:nvSpPr>
        <p:spPr>
          <a:xfrm>
            <a:off x="7315200" y="1789890"/>
            <a:ext cx="1600200" cy="6096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1752600" y="6200002"/>
            <a:ext cx="4343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s-DO" sz="1200">
                <a:solidFill>
                  <a:prstClr val="black"/>
                </a:solidFill>
                <a:latin typeface="Calibri"/>
                <a:cs typeface="Arial"/>
              </a:rPr>
              <a:t> Verificar compatibilidad de librerías</a:t>
            </a:r>
          </a:p>
          <a:p>
            <a: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s-DO" sz="1200">
                <a:solidFill>
                  <a:prstClr val="black"/>
                </a:solidFill>
                <a:latin typeface="Calibri"/>
                <a:cs typeface="Arial"/>
              </a:rPr>
              <a:t> Precisión del Sistema de Manipulación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6127200" y="6173210"/>
            <a:ext cx="43434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s-DO" sz="1200">
                <a:solidFill>
                  <a:prstClr val="black"/>
                </a:solidFill>
                <a:latin typeface="Calibri"/>
                <a:cs typeface="Arial"/>
              </a:rPr>
              <a:t> Riesgos: </a:t>
            </a:r>
            <a:r>
              <a:rPr lang="es-DO" sz="1200" err="1">
                <a:solidFill>
                  <a:prstClr val="black"/>
                </a:solidFill>
                <a:latin typeface="Calibri"/>
                <a:cs typeface="Arial"/>
              </a:rPr>
              <a:t>Precision</a:t>
            </a:r>
            <a:r>
              <a:rPr lang="es-DO" sz="1200">
                <a:solidFill>
                  <a:prstClr val="black"/>
                </a:solidFill>
                <a:latin typeface="Calibri"/>
                <a:cs typeface="Arial"/>
              </a:rPr>
              <a:t> de estimación de </a:t>
            </a:r>
            <a:r>
              <a:rPr lang="es-DO" sz="1200" err="1">
                <a:solidFill>
                  <a:prstClr val="black"/>
                </a:solidFill>
                <a:latin typeface="Calibri"/>
                <a:cs typeface="Arial"/>
              </a:rPr>
              <a:t>area</a:t>
            </a:r>
            <a:endParaRPr lang="es-DO" sz="1200">
              <a:solidFill>
                <a:prstClr val="black"/>
              </a:solidFill>
              <a:latin typeface="Calibri"/>
              <a:cs typeface="Arial"/>
            </a:endParaRPr>
          </a:p>
          <a:p>
            <a:pPr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s-DO" sz="1200">
                <a:solidFill>
                  <a:prstClr val="black"/>
                </a:solidFill>
                <a:latin typeface="Calibri"/>
                <a:cs typeface="Arial"/>
              </a:rPr>
              <a:t> Planes de Mitigación: Modificación del Diseño Escalado previo (V1.0)</a:t>
            </a:r>
          </a:p>
        </p:txBody>
      </p:sp>
      <p:sp>
        <p:nvSpPr>
          <p:cNvPr id="135" name="Oval 134"/>
          <p:cNvSpPr/>
          <p:nvPr/>
        </p:nvSpPr>
        <p:spPr>
          <a:xfrm>
            <a:off x="9747000" y="838200"/>
            <a:ext cx="540000" cy="540000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DO">
              <a:solidFill>
                <a:srgbClr val="000000"/>
              </a:solidFill>
              <a:highlight>
                <a:srgbClr val="FFFF00"/>
              </a:highlight>
              <a:latin typeface="Arial" charset="0"/>
              <a:cs typeface="Arial" charset="0"/>
            </a:endParaRPr>
          </a:p>
        </p:txBody>
      </p:sp>
      <p:pic>
        <p:nvPicPr>
          <p:cNvPr id="137" name="Picture 3" descr="E:\INTEC\Imagenes INTEC\INTEC.bmp"/>
          <p:cNvPicPr>
            <a:picLocks noChangeAspect="1" noChangeArrowheads="1"/>
          </p:cNvPicPr>
          <p:nvPr/>
        </p:nvPicPr>
        <p:blipFill>
          <a:blip r:embed="rId7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720198" y="138132"/>
            <a:ext cx="1643002" cy="5476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9" name="Rectangle 138"/>
          <p:cNvSpPr/>
          <p:nvPr/>
        </p:nvSpPr>
        <p:spPr>
          <a:xfrm>
            <a:off x="1801382" y="42446"/>
            <a:ext cx="3913619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es-DO" sz="2000" b="1" kern="0" spc="5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Proyectos II (IMC-309)</a:t>
            </a:r>
            <a:endParaRPr lang="es-DO" sz="2000" b="1" spc="50">
              <a:ln w="11430"/>
              <a:solidFill>
                <a:srgbClr val="FF0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DDD56A56-9F72-48C1-AA6D-DE16381E818A}"/>
              </a:ext>
            </a:extLst>
          </p:cNvPr>
          <p:cNvSpPr txBox="1"/>
          <p:nvPr/>
        </p:nvSpPr>
        <p:spPr>
          <a:xfrm>
            <a:off x="7447756" y="1928803"/>
            <a:ext cx="125888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200" dirty="0">
                <a:solidFill>
                  <a:prstClr val="black"/>
                </a:solidFill>
                <a:latin typeface="Calibri"/>
                <a:cs typeface="Arial"/>
              </a:rPr>
              <a:t>6 %</a:t>
            </a:r>
          </a:p>
        </p:txBody>
      </p:sp>
      <p:sp>
        <p:nvSpPr>
          <p:cNvPr id="127" name="Line 199">
            <a:extLst>
              <a:ext uri="{FF2B5EF4-FFF2-40B4-BE49-F238E27FC236}">
                <a16:creationId xmlns:a16="http://schemas.microsoft.com/office/drawing/2014/main" id="{85C6DC4D-D7CA-471D-A225-AAC32631F995}"/>
              </a:ext>
            </a:extLst>
          </p:cNvPr>
          <p:cNvSpPr>
            <a:spLocks noChangeShapeType="1"/>
          </p:cNvSpPr>
          <p:nvPr>
            <p:custDataLst>
              <p:tags r:id="rId54"/>
            </p:custDataLst>
          </p:nvPr>
        </p:nvSpPr>
        <p:spPr bwMode="gray">
          <a:xfrm flipV="1">
            <a:off x="8156183" y="4060645"/>
            <a:ext cx="238909" cy="240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5" name="Line 199">
            <a:extLst>
              <a:ext uri="{FF2B5EF4-FFF2-40B4-BE49-F238E27FC236}">
                <a16:creationId xmlns:a16="http://schemas.microsoft.com/office/drawing/2014/main" id="{4432BAC7-A407-6B90-7C0A-5EF7FEE43958}"/>
              </a:ext>
            </a:extLst>
          </p:cNvPr>
          <p:cNvSpPr>
            <a:spLocks noChangeShapeType="1"/>
          </p:cNvSpPr>
          <p:nvPr>
            <p:custDataLst>
              <p:tags r:id="rId55"/>
            </p:custDataLst>
          </p:nvPr>
        </p:nvSpPr>
        <p:spPr bwMode="gray">
          <a:xfrm>
            <a:off x="7926986" y="3748582"/>
            <a:ext cx="472477" cy="2499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4" name="Line 199">
            <a:extLst>
              <a:ext uri="{FF2B5EF4-FFF2-40B4-BE49-F238E27FC236}">
                <a16:creationId xmlns:a16="http://schemas.microsoft.com/office/drawing/2014/main" id="{0CE61BEB-8108-A812-47D1-15DC9E07C0D7}"/>
              </a:ext>
            </a:extLst>
          </p:cNvPr>
          <p:cNvSpPr>
            <a:spLocks noChangeShapeType="1"/>
          </p:cNvSpPr>
          <p:nvPr>
            <p:custDataLst>
              <p:tags r:id="rId56"/>
            </p:custDataLst>
          </p:nvPr>
        </p:nvSpPr>
        <p:spPr bwMode="gray">
          <a:xfrm>
            <a:off x="7923212" y="4664023"/>
            <a:ext cx="1682524" cy="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8" name="Line 199">
            <a:extLst>
              <a:ext uri="{FF2B5EF4-FFF2-40B4-BE49-F238E27FC236}">
                <a16:creationId xmlns:a16="http://schemas.microsoft.com/office/drawing/2014/main" id="{46A70FD4-B01D-9673-1B22-33AFBBD4D267}"/>
              </a:ext>
            </a:extLst>
          </p:cNvPr>
          <p:cNvSpPr>
            <a:spLocks noChangeShapeType="1"/>
          </p:cNvSpPr>
          <p:nvPr>
            <p:custDataLst>
              <p:tags r:id="rId57"/>
            </p:custDataLst>
          </p:nvPr>
        </p:nvSpPr>
        <p:spPr bwMode="gray">
          <a:xfrm flipV="1">
            <a:off x="9594579" y="5008833"/>
            <a:ext cx="270458" cy="2883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9" name="Rectangle 239">
            <a:extLst>
              <a:ext uri="{FF2B5EF4-FFF2-40B4-BE49-F238E27FC236}">
                <a16:creationId xmlns:a16="http://schemas.microsoft.com/office/drawing/2014/main" id="{4BD49E37-E267-5228-C383-8C2EB5930EED}"/>
              </a:ext>
            </a:extLst>
          </p:cNvPr>
          <p:cNvSpPr>
            <a:spLocks noChangeArrowheads="1"/>
          </p:cNvSpPr>
          <p:nvPr>
            <p:custDataLst>
              <p:tags r:id="rId58"/>
            </p:custDataLst>
          </p:nvPr>
        </p:nvSpPr>
        <p:spPr bwMode="auto">
          <a:xfrm>
            <a:off x="8089108" y="2913421"/>
            <a:ext cx="138110" cy="28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 b="1">
                <a:solidFill>
                  <a:srgbClr val="000000"/>
                </a:solidFill>
                <a:cs typeface="Arial" charset="0"/>
              </a:rPr>
              <a:t>S2</a:t>
            </a:r>
            <a:endParaRPr lang="es-VE" sz="800" b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0" name="Rectangle 239">
            <a:extLst>
              <a:ext uri="{FF2B5EF4-FFF2-40B4-BE49-F238E27FC236}">
                <a16:creationId xmlns:a16="http://schemas.microsoft.com/office/drawing/2014/main" id="{D73B556C-E392-8155-FD14-4B2A9D83DD22}"/>
              </a:ext>
            </a:extLst>
          </p:cNvPr>
          <p:cNvSpPr>
            <a:spLocks noChangeArrowheads="1"/>
          </p:cNvSpPr>
          <p:nvPr>
            <p:custDataLst>
              <p:tags r:id="rId59"/>
            </p:custDataLst>
          </p:nvPr>
        </p:nvSpPr>
        <p:spPr bwMode="auto">
          <a:xfrm>
            <a:off x="8327233" y="2913421"/>
            <a:ext cx="138110" cy="28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 b="1">
                <a:solidFill>
                  <a:srgbClr val="000000"/>
                </a:solidFill>
                <a:cs typeface="Arial" charset="0"/>
              </a:rPr>
              <a:t>S3</a:t>
            </a:r>
            <a:endParaRPr lang="es-VE" sz="800" b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8" name="Rectangle 239">
            <a:extLst>
              <a:ext uri="{FF2B5EF4-FFF2-40B4-BE49-F238E27FC236}">
                <a16:creationId xmlns:a16="http://schemas.microsoft.com/office/drawing/2014/main" id="{C3B0349E-335C-5789-5CA8-4F11F87EA608}"/>
              </a:ext>
            </a:extLst>
          </p:cNvPr>
          <p:cNvSpPr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8562183" y="2913421"/>
            <a:ext cx="138110" cy="28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 b="1">
                <a:solidFill>
                  <a:srgbClr val="000000"/>
                </a:solidFill>
                <a:cs typeface="Arial" charset="0"/>
              </a:rPr>
              <a:t>S4</a:t>
            </a:r>
            <a:endParaRPr lang="es-VE" sz="800" b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0" name="Rectangle 239">
            <a:extLst>
              <a:ext uri="{FF2B5EF4-FFF2-40B4-BE49-F238E27FC236}">
                <a16:creationId xmlns:a16="http://schemas.microsoft.com/office/drawing/2014/main" id="{F703401D-120E-18DE-C5B8-F31619A7A9DF}"/>
              </a:ext>
            </a:extLst>
          </p:cNvPr>
          <p:cNvSpPr>
            <a:spLocks noChangeArrowheads="1"/>
          </p:cNvSpPr>
          <p:nvPr>
            <p:custDataLst>
              <p:tags r:id="rId61"/>
            </p:custDataLst>
          </p:nvPr>
        </p:nvSpPr>
        <p:spPr bwMode="auto">
          <a:xfrm>
            <a:off x="8801103" y="2913421"/>
            <a:ext cx="138110" cy="28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 b="1">
                <a:solidFill>
                  <a:srgbClr val="000000"/>
                </a:solidFill>
                <a:cs typeface="Arial" charset="0"/>
              </a:rPr>
              <a:t>S5</a:t>
            </a:r>
            <a:endParaRPr lang="es-VE" sz="800" b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1" name="Rectangle 239">
            <a:extLst>
              <a:ext uri="{FF2B5EF4-FFF2-40B4-BE49-F238E27FC236}">
                <a16:creationId xmlns:a16="http://schemas.microsoft.com/office/drawing/2014/main" id="{0E99F3BF-97F8-9F4C-0AB9-AB50AE24CE4A}"/>
              </a:ext>
            </a:extLst>
          </p:cNvPr>
          <p:cNvSpPr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9042402" y="2910268"/>
            <a:ext cx="138110" cy="28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 b="1">
                <a:solidFill>
                  <a:srgbClr val="000000"/>
                </a:solidFill>
                <a:cs typeface="Arial" charset="0"/>
              </a:rPr>
              <a:t>S6</a:t>
            </a:r>
            <a:endParaRPr lang="es-VE" sz="800" b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2" name="Rectangle 239">
            <a:extLst>
              <a:ext uri="{FF2B5EF4-FFF2-40B4-BE49-F238E27FC236}">
                <a16:creationId xmlns:a16="http://schemas.microsoft.com/office/drawing/2014/main" id="{1C75B938-F12C-B02A-AB2C-35CDD53B9117}"/>
              </a:ext>
            </a:extLst>
          </p:cNvPr>
          <p:cNvSpPr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9277352" y="2908993"/>
            <a:ext cx="138110" cy="28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 b="1">
                <a:solidFill>
                  <a:srgbClr val="000000"/>
                </a:solidFill>
                <a:cs typeface="Arial" charset="0"/>
              </a:rPr>
              <a:t>S7</a:t>
            </a:r>
            <a:endParaRPr lang="es-VE" sz="800" b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3" name="Rectangle 239">
            <a:extLst>
              <a:ext uri="{FF2B5EF4-FFF2-40B4-BE49-F238E27FC236}">
                <a16:creationId xmlns:a16="http://schemas.microsoft.com/office/drawing/2014/main" id="{5372C4C4-64F4-89FC-B722-0C2F66F1F88B}"/>
              </a:ext>
            </a:extLst>
          </p:cNvPr>
          <p:cNvSpPr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9537928" y="2910489"/>
            <a:ext cx="138110" cy="28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 b="1">
                <a:solidFill>
                  <a:srgbClr val="000000"/>
                </a:solidFill>
                <a:cs typeface="Arial" charset="0"/>
              </a:rPr>
              <a:t>S8</a:t>
            </a:r>
            <a:endParaRPr lang="es-VE" sz="800" b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5" name="Rectangle 239">
            <a:extLst>
              <a:ext uri="{FF2B5EF4-FFF2-40B4-BE49-F238E27FC236}">
                <a16:creationId xmlns:a16="http://schemas.microsoft.com/office/drawing/2014/main" id="{A3FE694A-10FF-A3C1-9EC1-6F301785D036}"/>
              </a:ext>
            </a:extLst>
          </p:cNvPr>
          <p:cNvSpPr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9798504" y="2906474"/>
            <a:ext cx="138110" cy="28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s-VE" sz="800" b="1">
                <a:solidFill>
                  <a:srgbClr val="000000"/>
                </a:solidFill>
                <a:cs typeface="Arial" charset="0"/>
              </a:rPr>
              <a:t>S9</a:t>
            </a:r>
            <a:endParaRPr lang="es-VE" sz="800" b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Oval 233">
            <a:extLst>
              <a:ext uri="{FF2B5EF4-FFF2-40B4-BE49-F238E27FC236}">
                <a16:creationId xmlns:a16="http://schemas.microsoft.com/office/drawing/2014/main" id="{DCED1C78-DDDE-8EA0-F0D8-D9D1392C4509}"/>
              </a:ext>
            </a:extLst>
          </p:cNvPr>
          <p:cNvSpPr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10131607" y="3601540"/>
            <a:ext cx="169863" cy="232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s-DO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69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F2BCBCB-9CF1-F8F3-DE78-7D1251B2F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984" y="219582"/>
            <a:ext cx="11724216" cy="295275"/>
          </a:xfrm>
        </p:spPr>
        <p:txBody>
          <a:bodyPr>
            <a:normAutofit fontScale="90000"/>
          </a:bodyPr>
          <a:lstStyle/>
          <a:p>
            <a:r>
              <a:rPr lang="es-US" dirty="0"/>
              <a:t>Lo que tenemos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B19715D-6666-522E-908A-75CAB54216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  <a:defRPr/>
            </a:pPr>
            <a:fld id="{C2C56FA0-9C90-4361-9AE3-4BC9CA924807}" type="slidenum">
              <a:rPr lang="es-VE" sz="1200" kern="1200" smtClean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es-VE" sz="1200" kern="120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2D99A28-B893-DA46-28EC-B1532C87BD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0533" y="3268938"/>
            <a:ext cx="6009118" cy="338012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A2231B8-3F7B-AA2C-1D5E-2D78625B63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672" y="942228"/>
            <a:ext cx="5806003" cy="32658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C5520FD-B763-7CA7-0433-0F820A467A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5996" y="879982"/>
            <a:ext cx="3039728" cy="5403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9960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8E772E8-2E2B-2EDC-40EF-F97E38686B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US"/>
              <a:t>Gastos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654E172-F6AA-64E7-FD39-3CB3576AC8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  <a:defRPr/>
            </a:pPr>
            <a:fld id="{C2C56FA0-9C90-4361-9AE3-4BC9CA924807}" type="slidenum">
              <a:rPr lang="es-VE" sz="1200" kern="1200" smtClean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es-VE" sz="1200" kern="120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graphicFrame>
        <p:nvGraphicFramePr>
          <p:cNvPr id="5" name="Chart 1">
            <a:extLst>
              <a:ext uri="{FF2B5EF4-FFF2-40B4-BE49-F238E27FC236}">
                <a16:creationId xmlns:a16="http://schemas.microsoft.com/office/drawing/2014/main" id="{066ED0BD-7D21-D790-DC03-D868239EE68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6945671"/>
              </p:ext>
            </p:extLst>
          </p:nvPr>
        </p:nvGraphicFramePr>
        <p:xfrm>
          <a:off x="1318726" y="1031032"/>
          <a:ext cx="9554547" cy="47959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512373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ED2F955-A1C1-4AF9-88E1-BCAF797EAFE0}"/>
              </a:ext>
            </a:extLst>
          </p:cNvPr>
          <p:cNvSpPr txBox="1">
            <a:spLocks/>
          </p:cNvSpPr>
          <p:nvPr/>
        </p:nvSpPr>
        <p:spPr>
          <a:xfrm>
            <a:off x="1981200" y="1600201"/>
            <a:ext cx="8001000" cy="442108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-65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pitchFamily="-65" charset="-128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pitchFamily="-65" charset="-128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pitchFamily="-65" charset="-128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pitchFamily="-65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endParaRPr lang="es-E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0B0233-649B-444A-A466-9F60B35F62FE}"/>
              </a:ext>
            </a:extLst>
          </p:cNvPr>
          <p:cNvSpPr/>
          <p:nvPr/>
        </p:nvSpPr>
        <p:spPr>
          <a:xfrm>
            <a:off x="1524000" y="338936"/>
            <a:ext cx="9144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DO" sz="2400" b="1">
                <a:solidFill>
                  <a:srgbClr val="C00000"/>
                </a:solidFill>
                <a:latin typeface="+mj-lt"/>
                <a:ea typeface="Cambria" panose="02040503050406030204" pitchFamily="18" charset="0"/>
              </a:rPr>
              <a:t>INSTITUTO TECNOLÓGICO DE SANTO DOMINGO (INTEC)</a:t>
            </a:r>
          </a:p>
          <a:p>
            <a:pPr algn="ctr"/>
            <a:r>
              <a:rPr lang="es-DO">
                <a:solidFill>
                  <a:srgbClr val="C00000"/>
                </a:solidFill>
                <a:latin typeface="+mj-lt"/>
                <a:ea typeface="Cambria" panose="02040503050406030204" pitchFamily="18" charset="0"/>
              </a:rPr>
              <a:t>Área de Ingenierí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0F03951-8209-46D3-995E-ACF842F3725A}"/>
              </a:ext>
            </a:extLst>
          </p:cNvPr>
          <p:cNvSpPr/>
          <p:nvPr/>
        </p:nvSpPr>
        <p:spPr>
          <a:xfrm>
            <a:off x="2680184" y="3436881"/>
            <a:ext cx="68316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s-DO" b="1">
                <a:latin typeface="+mj-lt"/>
                <a:ea typeface="Cambria"/>
              </a:rPr>
              <a:t>Sistema para anodizado adaptivo aplicando escaneo por seccionado de luz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9D7D9B-8592-4BDE-A3EF-B81310A95A92}"/>
              </a:ext>
            </a:extLst>
          </p:cNvPr>
          <p:cNvSpPr/>
          <p:nvPr/>
        </p:nvSpPr>
        <p:spPr>
          <a:xfrm>
            <a:off x="4387575" y="5959112"/>
            <a:ext cx="34168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DO" sz="1400" dirty="0">
                <a:ea typeface="Cambria" panose="02040503050406030204" pitchFamily="18" charset="0"/>
              </a:rPr>
              <a:t>Santo Domingo, República Dominicana 11 de mayo </a:t>
            </a:r>
            <a:r>
              <a:rPr lang="es-DO" sz="1400">
                <a:ea typeface="Cambria" panose="02040503050406030204" pitchFamily="18" charset="0"/>
              </a:rPr>
              <a:t>de 2023</a:t>
            </a:r>
            <a:endParaRPr lang="es-DO" sz="1400" dirty="0">
              <a:ea typeface="Cambria" panose="02040503050406030204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5899130" y="6307319"/>
            <a:ext cx="393741" cy="365125"/>
          </a:xfrm>
          <a:prstGeom prst="rect">
            <a:avLst/>
          </a:prstGeom>
        </p:spPr>
        <p:txBody>
          <a:bodyPr/>
          <a:lstStyle/>
          <a:p>
            <a:fld id="{C39A1C5E-ABD8-497D-9251-EA120803E26C}" type="slidenum">
              <a:rPr lang="en-US" smtClean="0">
                <a:solidFill>
                  <a:schemeClr val="bg1"/>
                </a:solidFill>
              </a:rPr>
              <a:t>16</a:t>
            </a:fld>
            <a:endParaRPr lang="en-US">
              <a:solidFill>
                <a:schemeClr val="bg1"/>
              </a:solidFill>
            </a:endParaRP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88DE040-D167-45E7-97B7-7575361E8C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5180" y="1099327"/>
            <a:ext cx="2621640" cy="128016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37715AC-ABBC-4A0B-B953-47439D496085}"/>
              </a:ext>
            </a:extLst>
          </p:cNvPr>
          <p:cNvSpPr txBox="1"/>
          <p:nvPr/>
        </p:nvSpPr>
        <p:spPr>
          <a:xfrm>
            <a:off x="1569721" y="2529560"/>
            <a:ext cx="905255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DO" sz="2000">
                <a:latin typeface="+mj-lt"/>
                <a:ea typeface="Cambria" panose="02040503050406030204" pitchFamily="18" charset="0"/>
              </a:rPr>
              <a:t>PROYECTO DE INGENIERÍA MECATRÓNICA II</a:t>
            </a:r>
          </a:p>
          <a:p>
            <a:pPr algn="ctr"/>
            <a:r>
              <a:rPr lang="es-DO" sz="2000" b="1" u="sng">
                <a:latin typeface="+mj-lt"/>
                <a:ea typeface="Cambria" panose="02040503050406030204" pitchFamily="18" charset="0"/>
              </a:rPr>
              <a:t>PROYECTO DE GRADO</a:t>
            </a: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7703CB26-5158-F0F2-3546-93F3B3E666EC}"/>
              </a:ext>
            </a:extLst>
          </p:cNvPr>
          <p:cNvSpPr/>
          <p:nvPr/>
        </p:nvSpPr>
        <p:spPr>
          <a:xfrm>
            <a:off x="4524498" y="4282647"/>
            <a:ext cx="3143003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DO" sz="1400">
                <a:ea typeface="Cambria" panose="02040503050406030204" pitchFamily="18" charset="0"/>
              </a:rPr>
              <a:t>NOMBRE: IAN G. CAÑAS FDEZ.</a:t>
            </a:r>
          </a:p>
          <a:p>
            <a:pPr algn="ctr"/>
            <a:r>
              <a:rPr lang="es-DO" sz="1400">
                <a:ea typeface="Cambria" panose="02040503050406030204" pitchFamily="18" charset="0"/>
              </a:rPr>
              <a:t>ID: 1092228</a:t>
            </a:r>
          </a:p>
          <a:p>
            <a:pPr algn="ctr"/>
            <a:endParaRPr lang="es-DO" sz="1400">
              <a:ea typeface="Cambria" panose="02040503050406030204" pitchFamily="18" charset="0"/>
            </a:endParaRPr>
          </a:p>
          <a:p>
            <a:pPr algn="ctr"/>
            <a:r>
              <a:rPr lang="es-DO" sz="1400">
                <a:ea typeface="Cambria" panose="02040503050406030204" pitchFamily="18" charset="0"/>
              </a:rPr>
              <a:t>NOMBRE: SAMUEL O. TEJEDA I.</a:t>
            </a:r>
          </a:p>
          <a:p>
            <a:pPr algn="ctr"/>
            <a:r>
              <a:rPr lang="es-DO" sz="1400">
                <a:ea typeface="Cambria" panose="02040503050406030204" pitchFamily="18" charset="0"/>
              </a:rPr>
              <a:t>ID: 1092136</a:t>
            </a:r>
          </a:p>
          <a:p>
            <a:pPr algn="ctr"/>
            <a:endParaRPr lang="es-DO" sz="1400">
              <a:ea typeface="Cambria" panose="02040503050406030204" pitchFamily="18" charset="0"/>
            </a:endParaRPr>
          </a:p>
          <a:p>
            <a:pPr algn="ctr"/>
            <a:r>
              <a:rPr lang="es-DO" sz="1400">
                <a:ea typeface="Cambria" panose="02040503050406030204" pitchFamily="18" charset="0"/>
              </a:rPr>
              <a:t>ASESOR: IVAN E. JIMENEZ</a:t>
            </a:r>
          </a:p>
        </p:txBody>
      </p:sp>
    </p:spTree>
    <p:extLst>
      <p:ext uri="{BB962C8B-B14F-4D97-AF65-F5344CB8AC3E}">
        <p14:creationId xmlns:p14="http://schemas.microsoft.com/office/powerpoint/2010/main" val="37719459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53777"/>
          </a:xfrm>
        </p:spPr>
        <p:txBody>
          <a:bodyPr>
            <a:normAutofit fontScale="90000"/>
          </a:bodyPr>
          <a:lstStyle/>
          <a:p>
            <a:r>
              <a:rPr lang="en-US" sz="4000">
                <a:solidFill>
                  <a:srgbClr val="C00000"/>
                </a:solidFill>
              </a:rPr>
              <a:t>SITUACIÓN PROBLEMÁTICA</a:t>
            </a:r>
            <a:endParaRPr lang="es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D2C7EC-7286-400A-BC53-EFCDD7E54D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53331"/>
            <a:ext cx="10515600" cy="435133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s-ES"/>
              <a:t>El proceso de anodizado requiere máquinas de muy altos costos, siendo prohibitivo para muchas empresas que requieren realizar este proceso en sus actividades operativas.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s-ES"/>
              <a:t>Las alternativas existentes no solo comprometen la salud de los operarios y de su entorno, si no, que afecta gravemente en la repetitividad del proceso y la calidad del mismo. </a:t>
            </a:r>
            <a:endParaRPr lang="es-DO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2</a:t>
            </a:fld>
            <a:endParaRPr lang="en-US"/>
          </a:p>
        </p:txBody>
      </p:sp>
      <p:cxnSp>
        <p:nvCxnSpPr>
          <p:cNvPr id="6" name="Conector recto 5"/>
          <p:cNvCxnSpPr/>
          <p:nvPr/>
        </p:nvCxnSpPr>
        <p:spPr>
          <a:xfrm>
            <a:off x="1441064" y="5951082"/>
            <a:ext cx="0" cy="396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/>
          <p:cNvSpPr txBox="1"/>
          <p:nvPr/>
        </p:nvSpPr>
        <p:spPr>
          <a:xfrm>
            <a:off x="1486879" y="5895476"/>
            <a:ext cx="15672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>
                <a:solidFill>
                  <a:schemeClr val="accent1"/>
                </a:solidFill>
              </a:rPr>
              <a:t>Ingenierías - INTEC</a:t>
            </a:r>
            <a:r>
              <a:rPr lang="es-ES" sz="1400" b="1">
                <a:solidFill>
                  <a:schemeClr val="bg2">
                    <a:lumMod val="50000"/>
                  </a:schemeClr>
                </a:solidFill>
              </a:rPr>
              <a:t> 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60" y="5511514"/>
            <a:ext cx="1034880" cy="103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74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53777"/>
          </a:xfrm>
        </p:spPr>
        <p:txBody>
          <a:bodyPr>
            <a:normAutofit fontScale="90000"/>
          </a:bodyPr>
          <a:lstStyle/>
          <a:p>
            <a:r>
              <a:rPr lang="en-US" sz="4000">
                <a:solidFill>
                  <a:srgbClr val="C00000"/>
                </a:solidFill>
              </a:rPr>
              <a:t>SITUACIÓN PROBLEMÁTICA</a:t>
            </a:r>
            <a:endParaRPr lang="es-ES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3</a:t>
            </a:fld>
            <a:endParaRPr lang="en-US"/>
          </a:p>
        </p:txBody>
      </p:sp>
      <p:cxnSp>
        <p:nvCxnSpPr>
          <p:cNvPr id="6" name="Conector recto 5"/>
          <p:cNvCxnSpPr/>
          <p:nvPr/>
        </p:nvCxnSpPr>
        <p:spPr>
          <a:xfrm>
            <a:off x="1441064" y="5951082"/>
            <a:ext cx="0" cy="396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/>
          <p:cNvSpPr txBox="1"/>
          <p:nvPr/>
        </p:nvSpPr>
        <p:spPr>
          <a:xfrm>
            <a:off x="1486879" y="5895476"/>
            <a:ext cx="15672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>
                <a:solidFill>
                  <a:schemeClr val="accent1"/>
                </a:solidFill>
              </a:rPr>
              <a:t>Ingenierías - INTEC</a:t>
            </a:r>
            <a:r>
              <a:rPr lang="es-ES" sz="1400" b="1">
                <a:solidFill>
                  <a:schemeClr val="bg2">
                    <a:lumMod val="50000"/>
                  </a:schemeClr>
                </a:solidFill>
              </a:rPr>
              <a:t> 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60" y="5511514"/>
            <a:ext cx="1034880" cy="1034880"/>
          </a:xfrm>
          <a:prstGeom prst="rect">
            <a:avLst/>
          </a:prstGeom>
        </p:spPr>
      </p:pic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82B9BBF-9208-A4B6-07FF-5D0329D6E136}"/>
              </a:ext>
            </a:extLst>
          </p:cNvPr>
          <p:cNvGraphicFramePr/>
          <p:nvPr/>
        </p:nvGraphicFramePr>
        <p:xfrm>
          <a:off x="1047750" y="1571112"/>
          <a:ext cx="4561726" cy="3118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8B4577FB-5B59-4EFD-7003-13676C9FA12D}"/>
              </a:ext>
            </a:extLst>
          </p:cNvPr>
          <p:cNvSpPr txBox="1"/>
          <p:nvPr/>
        </p:nvSpPr>
        <p:spPr>
          <a:xfrm>
            <a:off x="4893274" y="1898922"/>
            <a:ext cx="670248" cy="378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en-US" sz="1862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x2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C72E84-8611-DA14-DA79-BE515CB12CA0}"/>
              </a:ext>
            </a:extLst>
          </p:cNvPr>
          <p:cNvSpPr txBox="1"/>
          <p:nvPr/>
        </p:nvSpPr>
        <p:spPr>
          <a:xfrm>
            <a:off x="2866276" y="3130457"/>
            <a:ext cx="714875" cy="378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x</a:t>
            </a:r>
            <a:r>
              <a:rPr lang="en-US" b="1" i="0">
                <a:effectLst/>
              </a:rPr>
              <a:t>1.4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10A7AA22-D50B-748F-1D68-9C03351D63D9}"/>
              </a:ext>
            </a:extLst>
          </p:cNvPr>
          <p:cNvSpPr txBox="1"/>
          <p:nvPr/>
        </p:nvSpPr>
        <p:spPr>
          <a:xfrm>
            <a:off x="10690340" y="5987018"/>
            <a:ext cx="4539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DO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[1]</a:t>
            </a:r>
            <a:endParaRPr lang="pt-BR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D8C8D9-DB63-3ABE-FDEA-6F0C8C99ACDD}"/>
              </a:ext>
            </a:extLst>
          </p:cNvPr>
          <p:cNvSpPr txBox="1"/>
          <p:nvPr/>
        </p:nvSpPr>
        <p:spPr>
          <a:xfrm>
            <a:off x="1145603" y="4689505"/>
            <a:ext cx="44638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igura 1  Ca</a:t>
            </a:r>
            <a:r>
              <a:rPr lang="es-ES" sz="1400">
                <a:solidFill>
                  <a:srgbClr val="000000"/>
                </a:solidFill>
                <a:latin typeface="Arial" panose="020B0604020202020204" pitchFamily="34" charset="0"/>
              </a:rPr>
              <a:t>sos de cáncer por exposición a ácidos </a:t>
            </a:r>
            <a:r>
              <a:rPr lang="en-US" sz="1400">
                <a:solidFill>
                  <a:srgbClr val="000000"/>
                </a:solidFill>
                <a:latin typeface="Arial" panose="020B0604020202020204" pitchFamily="34" charset="0"/>
              </a:rPr>
              <a:t>[1]</a:t>
            </a:r>
            <a:endParaRPr lang="en-US" sz="1400"/>
          </a:p>
        </p:txBody>
      </p:sp>
      <p:pic>
        <p:nvPicPr>
          <p:cNvPr id="14" name="Picture 13" descr="Hierarchy of Controls inverted pyramid graphic representing the page's list of general effectiveness, from greatest to least.">
            <a:extLst>
              <a:ext uri="{FF2B5EF4-FFF2-40B4-BE49-F238E27FC236}">
                <a16:creationId xmlns:a16="http://schemas.microsoft.com/office/drawing/2014/main" id="{8D9295C1-C09A-6116-15F3-B079CCF8396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0377" y="1768759"/>
            <a:ext cx="4180649" cy="2803530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2BE2A57-972A-99DE-EA10-5932E000E499}"/>
              </a:ext>
            </a:extLst>
          </p:cNvPr>
          <p:cNvSpPr txBox="1"/>
          <p:nvPr/>
        </p:nvSpPr>
        <p:spPr>
          <a:xfrm>
            <a:off x="6680377" y="4689802"/>
            <a:ext cx="44638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igura 2  </a:t>
            </a:r>
            <a:r>
              <a:rPr lang="es-ES" sz="1400" err="1">
                <a:solidFill>
                  <a:srgbClr val="000000"/>
                </a:solidFill>
                <a:latin typeface="Arial" panose="020B0604020202020204" pitchFamily="34" charset="0"/>
              </a:rPr>
              <a:t>Hierachy</a:t>
            </a:r>
            <a:r>
              <a:rPr lang="es-ES" sz="140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s-ES" sz="1400" err="1">
                <a:solidFill>
                  <a:srgbClr val="000000"/>
                </a:solidFill>
                <a:latin typeface="Arial" panose="020B0604020202020204" pitchFamily="34" charset="0"/>
              </a:rPr>
              <a:t>of</a:t>
            </a:r>
            <a:r>
              <a:rPr lang="es-ES" sz="140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s-ES" sz="1400" err="1">
                <a:solidFill>
                  <a:srgbClr val="000000"/>
                </a:solidFill>
                <a:latin typeface="Arial" panose="020B0604020202020204" pitchFamily="34" charset="0"/>
              </a:rPr>
              <a:t>Controls</a:t>
            </a:r>
            <a:r>
              <a:rPr lang="es-ES" sz="1400">
                <a:solidFill>
                  <a:srgbClr val="000000"/>
                </a:solidFill>
                <a:latin typeface="Arial" panose="020B0604020202020204" pitchFamily="34" charset="0"/>
              </a:rPr>
              <a:t> NIOSH </a:t>
            </a:r>
            <a:r>
              <a:rPr lang="en-US" sz="1400">
                <a:solidFill>
                  <a:srgbClr val="000000"/>
                </a:solidFill>
                <a:latin typeface="Arial" panose="020B0604020202020204" pitchFamily="34" charset="0"/>
              </a:rPr>
              <a:t>[1]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367905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53777"/>
          </a:xfrm>
        </p:spPr>
        <p:txBody>
          <a:bodyPr>
            <a:normAutofit fontScale="90000"/>
          </a:bodyPr>
          <a:lstStyle/>
          <a:p>
            <a:r>
              <a:rPr lang="en-US" sz="4000">
                <a:solidFill>
                  <a:srgbClr val="C00000"/>
                </a:solidFill>
              </a:rPr>
              <a:t>ESTADO DEL ARTE</a:t>
            </a:r>
            <a:endParaRPr lang="es-ES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4</a:t>
            </a:fld>
            <a:endParaRPr lang="en-US"/>
          </a:p>
        </p:txBody>
      </p:sp>
      <p:cxnSp>
        <p:nvCxnSpPr>
          <p:cNvPr id="6" name="Conector recto 5"/>
          <p:cNvCxnSpPr/>
          <p:nvPr/>
        </p:nvCxnSpPr>
        <p:spPr>
          <a:xfrm>
            <a:off x="1441064" y="5951082"/>
            <a:ext cx="0" cy="396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/>
          <p:cNvSpPr txBox="1"/>
          <p:nvPr/>
        </p:nvSpPr>
        <p:spPr>
          <a:xfrm>
            <a:off x="1486879" y="5895476"/>
            <a:ext cx="15672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>
                <a:solidFill>
                  <a:schemeClr val="accent1"/>
                </a:solidFill>
              </a:rPr>
              <a:t>Ingenierías - INTEC</a:t>
            </a:r>
            <a:r>
              <a:rPr lang="es-ES" sz="1400" b="1">
                <a:solidFill>
                  <a:schemeClr val="bg2">
                    <a:lumMod val="50000"/>
                  </a:schemeClr>
                </a:solidFill>
              </a:rPr>
              <a:t> 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60" y="5511514"/>
            <a:ext cx="1034880" cy="1034880"/>
          </a:xfrm>
          <a:prstGeom prst="rect">
            <a:avLst/>
          </a:prstGeom>
        </p:spPr>
      </p:pic>
      <p:pic>
        <p:nvPicPr>
          <p:cNvPr id="4" name="Picture 2" descr="What Is Piston Hard Anodizing?">
            <a:extLst>
              <a:ext uri="{FF2B5EF4-FFF2-40B4-BE49-F238E27FC236}">
                <a16:creationId xmlns:a16="http://schemas.microsoft.com/office/drawing/2014/main" id="{1E307437-91B0-C605-99DE-BB797E742F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8982" y="1907327"/>
            <a:ext cx="4479025" cy="2498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阳极氧化设备| Technic Inc.">
            <a:extLst>
              <a:ext uri="{FF2B5EF4-FFF2-40B4-BE49-F238E27FC236}">
                <a16:creationId xmlns:a16="http://schemas.microsoft.com/office/drawing/2014/main" id="{5AB91044-F958-98CB-ACC2-2C8C12E205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912" y="1913975"/>
            <a:ext cx="4463878" cy="2492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9">
            <a:extLst>
              <a:ext uri="{FF2B5EF4-FFF2-40B4-BE49-F238E27FC236}">
                <a16:creationId xmlns:a16="http://schemas.microsoft.com/office/drawing/2014/main" id="{18CC2EC6-0A5C-285C-742D-35772599C151}"/>
              </a:ext>
            </a:extLst>
          </p:cNvPr>
          <p:cNvSpPr txBox="1"/>
          <p:nvPr/>
        </p:nvSpPr>
        <p:spPr>
          <a:xfrm>
            <a:off x="980912" y="4470279"/>
            <a:ext cx="44638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igura 2  Maquinaria de anodizado industrial [2]</a:t>
            </a:r>
            <a:endParaRPr lang="en-US" sz="1400"/>
          </a:p>
        </p:txBody>
      </p:sp>
      <p:sp>
        <p:nvSpPr>
          <p:cNvPr id="9" name="TextBox 11">
            <a:extLst>
              <a:ext uri="{FF2B5EF4-FFF2-40B4-BE49-F238E27FC236}">
                <a16:creationId xmlns:a16="http://schemas.microsoft.com/office/drawing/2014/main" id="{F6EEE4D3-BDA1-0F09-5DC0-FD7969B490F7}"/>
              </a:ext>
            </a:extLst>
          </p:cNvPr>
          <p:cNvSpPr txBox="1"/>
          <p:nvPr/>
        </p:nvSpPr>
        <p:spPr>
          <a:xfrm>
            <a:off x="6708982" y="4470279"/>
            <a:ext cx="447902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igura 3  Proceso de anodizado manual [3]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821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53777"/>
          </a:xfrm>
        </p:spPr>
        <p:txBody>
          <a:bodyPr>
            <a:normAutofit fontScale="90000"/>
          </a:bodyPr>
          <a:lstStyle/>
          <a:p>
            <a:r>
              <a:rPr lang="en-US" sz="4000">
                <a:solidFill>
                  <a:srgbClr val="C00000"/>
                </a:solidFill>
              </a:rPr>
              <a:t>OBJETIVO GENERAL</a:t>
            </a:r>
            <a:endParaRPr lang="es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D2C7EC-7286-400A-BC53-EFCDD7E54D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53331"/>
            <a:ext cx="10515600" cy="4351338"/>
          </a:xfrm>
        </p:spPr>
        <p:txBody>
          <a:bodyPr/>
          <a:lstStyle/>
          <a:p>
            <a:r>
              <a:rPr lang="es-DO"/>
              <a:t>Desarrollar una máquina que permita hacer el anodizado de piezas pequeñas y medianas de forma segura y precisa mediante el uso de seccionado de luz. </a:t>
            </a:r>
            <a:endParaRPr lang="es-DO">
              <a:ea typeface="+mn-lt"/>
              <a:cs typeface="+mn-lt"/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5</a:t>
            </a:fld>
            <a:endParaRPr lang="en-US"/>
          </a:p>
        </p:txBody>
      </p:sp>
      <p:cxnSp>
        <p:nvCxnSpPr>
          <p:cNvPr id="6" name="Conector recto 5"/>
          <p:cNvCxnSpPr/>
          <p:nvPr/>
        </p:nvCxnSpPr>
        <p:spPr>
          <a:xfrm>
            <a:off x="1441064" y="5951082"/>
            <a:ext cx="0" cy="396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/>
          <p:cNvSpPr txBox="1"/>
          <p:nvPr/>
        </p:nvSpPr>
        <p:spPr>
          <a:xfrm>
            <a:off x="1486879" y="5895476"/>
            <a:ext cx="15672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>
                <a:solidFill>
                  <a:schemeClr val="accent1"/>
                </a:solidFill>
              </a:rPr>
              <a:t>Ingenierías - INTEC</a:t>
            </a:r>
            <a:r>
              <a:rPr lang="es-ES" sz="1400" b="1">
                <a:solidFill>
                  <a:schemeClr val="bg2">
                    <a:lumMod val="50000"/>
                  </a:schemeClr>
                </a:solidFill>
              </a:rPr>
              <a:t> 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60" y="5511514"/>
            <a:ext cx="1034880" cy="103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91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56073"/>
            <a:ext cx="10515600" cy="653777"/>
          </a:xfrm>
        </p:spPr>
        <p:txBody>
          <a:bodyPr>
            <a:normAutofit fontScale="90000"/>
          </a:bodyPr>
          <a:lstStyle/>
          <a:p>
            <a:r>
              <a:rPr lang="es-DO" sz="4000">
                <a:solidFill>
                  <a:srgbClr val="C00000"/>
                </a:solidFill>
              </a:rPr>
              <a:t>MATRIZ IMC DE PROTOTIPO</a:t>
            </a:r>
            <a:endParaRPr lang="es-ES"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5A092E1D-D0C0-4C44-B38F-92C186F5A179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15652" y="1256212"/>
          <a:ext cx="10760696" cy="4345576"/>
        </p:xfrm>
        <a:graphic>
          <a:graphicData uri="http://schemas.openxmlformats.org/drawingml/2006/table">
            <a:tbl>
              <a:tblPr firstRow="1">
                <a:tableStyleId>{3B4B98B0-60AC-42C2-AFA5-B58CD77FA1E5}</a:tableStyleId>
              </a:tblPr>
              <a:tblGrid>
                <a:gridCol w="1687914">
                  <a:extLst>
                    <a:ext uri="{9D8B030D-6E8A-4147-A177-3AD203B41FA5}">
                      <a16:colId xmlns:a16="http://schemas.microsoft.com/office/drawing/2014/main" val="3661937603"/>
                    </a:ext>
                  </a:extLst>
                </a:gridCol>
                <a:gridCol w="1863634">
                  <a:extLst>
                    <a:ext uri="{9D8B030D-6E8A-4147-A177-3AD203B41FA5}">
                      <a16:colId xmlns:a16="http://schemas.microsoft.com/office/drawing/2014/main" val="3550781183"/>
                    </a:ext>
                  </a:extLst>
                </a:gridCol>
                <a:gridCol w="2025535">
                  <a:extLst>
                    <a:ext uri="{9D8B030D-6E8A-4147-A177-3AD203B41FA5}">
                      <a16:colId xmlns:a16="http://schemas.microsoft.com/office/drawing/2014/main" val="3106410650"/>
                    </a:ext>
                  </a:extLst>
                </a:gridCol>
                <a:gridCol w="2354876">
                  <a:extLst>
                    <a:ext uri="{9D8B030D-6E8A-4147-A177-3AD203B41FA5}">
                      <a16:colId xmlns:a16="http://schemas.microsoft.com/office/drawing/2014/main" val="955287033"/>
                    </a:ext>
                  </a:extLst>
                </a:gridCol>
                <a:gridCol w="2828737">
                  <a:extLst>
                    <a:ext uri="{9D8B030D-6E8A-4147-A177-3AD203B41FA5}">
                      <a16:colId xmlns:a16="http://schemas.microsoft.com/office/drawing/2014/main" val="4222153215"/>
                    </a:ext>
                  </a:extLst>
                </a:gridCol>
              </a:tblGrid>
              <a:tr h="413656">
                <a:tc>
                  <a:txBody>
                    <a:bodyPr/>
                    <a:lstStyle/>
                    <a:p>
                      <a:endParaRPr lang="es-DO" sz="12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NO ACEPT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PRINCIPIAN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COMPETEN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EXPERTO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3770733"/>
                  </a:ext>
                </a:extLst>
              </a:tr>
              <a:tr h="638080">
                <a:tc>
                  <a:txBody>
                    <a:bodyPr/>
                    <a:lstStyle/>
                    <a:p>
                      <a:pPr algn="l"/>
                      <a:r>
                        <a:rPr lang="es-DO" sz="1200" b="1" noProof="0"/>
                        <a:t>INTELIGENC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No toma decision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Toma decisiones lógicas sobre información obtenida de su entorno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Toma decisiones usando modelos para inferir sobre la información obtenida de su entorno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Toma decisiones orientadas a optimizar alguno de sus procesos, usando modelos para inferir sobre la información obtenida de su entorn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8713324"/>
                  </a:ext>
                </a:extLst>
              </a:tr>
              <a:tr h="638080">
                <a:tc>
                  <a:txBody>
                    <a:bodyPr/>
                    <a:lstStyle/>
                    <a:p>
                      <a:pPr algn="l"/>
                      <a:r>
                        <a:rPr lang="es-DO" sz="1200" b="1" noProof="0"/>
                        <a:t>EFICIENC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Desempeño sustentado en un rendimiento inferior o similar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Desempeño sustentado en un rendimiento superior sólo en condiciones ideale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Desempeño sustentado en un rendimiento superior en condiciones variable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Desempeño sustentado en un rendimiento superior en condiciones variables tomando en cuenta el impacto más allá del dispositivo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4736373"/>
                  </a:ext>
                </a:extLst>
              </a:tr>
              <a:tr h="638080">
                <a:tc>
                  <a:txBody>
                    <a:bodyPr/>
                    <a:lstStyle/>
                    <a:p>
                      <a:pPr algn="l"/>
                      <a:r>
                        <a:rPr lang="es-DO" sz="1200" b="1" noProof="0"/>
                        <a:t>TANGIBILIDA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La operación del dispositivo no  interactua con el entorn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La operación del dispositivo  interactúa con el entorno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La operación del dispositivo  manipula el entorn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La operación del dispositivo  manipula adaptándose al  entorn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4925723"/>
                  </a:ext>
                </a:extLst>
              </a:tr>
              <a:tr h="816742">
                <a:tc>
                  <a:txBody>
                    <a:bodyPr/>
                    <a:lstStyle/>
                    <a:p>
                      <a:pPr algn="l"/>
                      <a:r>
                        <a:rPr lang="es-DO" sz="1200" b="1" noProof="0"/>
                        <a:t>AUTOMATIZACIÓ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No cuenta con ningún tipo de retroalimentación para validar sus proceso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Cuenta con retroalimentación básica para validar sus procesos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Cuenta con retroalimentación y análisis para validar el proces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Cuenta con retroalimentación y análisis para validar el proceso, aplicando teoría de control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996985"/>
                  </a:ext>
                </a:extLst>
              </a:tr>
              <a:tr h="816742">
                <a:tc>
                  <a:txBody>
                    <a:bodyPr/>
                    <a:lstStyle/>
                    <a:p>
                      <a:pPr algn="l"/>
                      <a:r>
                        <a:rPr lang="es-DO" sz="1200" b="1" noProof="0"/>
                        <a:t>SEGURIDA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No cuenta con ningún sistema de seguridad de maquinaria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Cuenta con  indicadores de seguridad para el usuari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Detiene la marcha de manera inmediata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DO" sz="1200" noProof="0"/>
                        <a:t>Monitorea el estado de la seguridad de maquinaria, reduce o detiene la marcha, dependiendo del estado y la categoría de parada definida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9607658"/>
                  </a:ext>
                </a:extLst>
              </a:tr>
            </a:tbl>
          </a:graphicData>
        </a:graphic>
      </p:graphicFrame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6</a:t>
            </a:fld>
            <a:endParaRPr lang="en-US"/>
          </a:p>
        </p:txBody>
      </p:sp>
      <p:cxnSp>
        <p:nvCxnSpPr>
          <p:cNvPr id="6" name="Conector recto 5"/>
          <p:cNvCxnSpPr/>
          <p:nvPr/>
        </p:nvCxnSpPr>
        <p:spPr>
          <a:xfrm>
            <a:off x="1441064" y="5951082"/>
            <a:ext cx="0" cy="396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/>
          <p:cNvSpPr txBox="1"/>
          <p:nvPr/>
        </p:nvSpPr>
        <p:spPr>
          <a:xfrm>
            <a:off x="1486879" y="5895476"/>
            <a:ext cx="15672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>
                <a:solidFill>
                  <a:schemeClr val="accent1"/>
                </a:solidFill>
              </a:rPr>
              <a:t>Ingenierías - INTEC</a:t>
            </a:r>
            <a:r>
              <a:rPr lang="es-ES" sz="1400" b="1">
                <a:solidFill>
                  <a:schemeClr val="bg2">
                    <a:lumMod val="50000"/>
                  </a:schemeClr>
                </a:solidFill>
              </a:rPr>
              <a:t> 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60" y="5511514"/>
            <a:ext cx="1034880" cy="103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066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510918"/>
            <a:ext cx="10515600" cy="653777"/>
          </a:xfrm>
        </p:spPr>
        <p:txBody>
          <a:bodyPr>
            <a:normAutofit/>
          </a:bodyPr>
          <a:lstStyle/>
          <a:p>
            <a:pPr algn="ctr"/>
            <a:r>
              <a:rPr lang="es-DO" sz="3600">
                <a:solidFill>
                  <a:srgbClr val="C00000"/>
                </a:solidFill>
              </a:rPr>
              <a:t>Modelo escalado</a:t>
            </a:r>
            <a:endParaRPr lang="es-ES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7</a:t>
            </a:fld>
            <a:endParaRPr lang="en-US"/>
          </a:p>
        </p:txBody>
      </p:sp>
      <p:cxnSp>
        <p:nvCxnSpPr>
          <p:cNvPr id="6" name="Conector recto 5"/>
          <p:cNvCxnSpPr/>
          <p:nvPr/>
        </p:nvCxnSpPr>
        <p:spPr>
          <a:xfrm>
            <a:off x="1441064" y="5951082"/>
            <a:ext cx="0" cy="396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/>
          <p:cNvSpPr txBox="1"/>
          <p:nvPr/>
        </p:nvSpPr>
        <p:spPr>
          <a:xfrm>
            <a:off x="1486879" y="5895476"/>
            <a:ext cx="15672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>
                <a:solidFill>
                  <a:schemeClr val="accent1"/>
                </a:solidFill>
              </a:rPr>
              <a:t>Ingenierías - INTEC</a:t>
            </a:r>
            <a:r>
              <a:rPr lang="es-ES" sz="1400" b="1">
                <a:solidFill>
                  <a:schemeClr val="bg2">
                    <a:lumMod val="50000"/>
                  </a:schemeClr>
                </a:solidFill>
              </a:rPr>
              <a:t> 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60" y="5511514"/>
            <a:ext cx="1034880" cy="1034880"/>
          </a:xfrm>
          <a:prstGeom prst="rect">
            <a:avLst/>
          </a:prstGeom>
        </p:spPr>
      </p:pic>
      <p:sp>
        <p:nvSpPr>
          <p:cNvPr id="13" name="CuadroTexto 11">
            <a:extLst>
              <a:ext uri="{FF2B5EF4-FFF2-40B4-BE49-F238E27FC236}">
                <a16:creationId xmlns:a16="http://schemas.microsoft.com/office/drawing/2014/main" id="{855FC9DA-1F39-47AA-9C2A-05FD65B6B0C8}"/>
              </a:ext>
            </a:extLst>
          </p:cNvPr>
          <p:cNvSpPr txBox="1"/>
          <p:nvPr/>
        </p:nvSpPr>
        <p:spPr>
          <a:xfrm>
            <a:off x="320760" y="4924726"/>
            <a:ext cx="6096000" cy="2756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s-419" sz="1200"/>
              <a:t>Modelo CAD escalado V1.0</a:t>
            </a:r>
          </a:p>
        </p:txBody>
      </p:sp>
      <p:sp>
        <p:nvSpPr>
          <p:cNvPr id="9" name="CuadroTexto 11">
            <a:extLst>
              <a:ext uri="{FF2B5EF4-FFF2-40B4-BE49-F238E27FC236}">
                <a16:creationId xmlns:a16="http://schemas.microsoft.com/office/drawing/2014/main" id="{BA3117D1-89ED-BDAB-14ED-E04582437B47}"/>
              </a:ext>
            </a:extLst>
          </p:cNvPr>
          <p:cNvSpPr txBox="1"/>
          <p:nvPr/>
        </p:nvSpPr>
        <p:spPr>
          <a:xfrm>
            <a:off x="5514280" y="4924726"/>
            <a:ext cx="6096000" cy="2756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s-419" sz="1200"/>
              <a:t>Modelo CAD Fabricad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FA3DE1-C631-DC98-2AA3-D9C53B500AC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041"/>
          <a:stretch/>
        </p:blipFill>
        <p:spPr>
          <a:xfrm>
            <a:off x="453188" y="1572143"/>
            <a:ext cx="6353842" cy="3518483"/>
          </a:xfrm>
          <a:prstGeom prst="rect">
            <a:avLst/>
          </a:prstGeom>
        </p:spPr>
      </p:pic>
      <p:pic>
        <p:nvPicPr>
          <p:cNvPr id="7" name="Picture 6" descr="A picture containing indoor, floor, office&#10;&#10;Description automatically generated">
            <a:extLst>
              <a:ext uri="{FF2B5EF4-FFF2-40B4-BE49-F238E27FC236}">
                <a16:creationId xmlns:a16="http://schemas.microsoft.com/office/drawing/2014/main" id="{C4312BF1-0CB0-168B-4D84-4663049279F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5918" y="1933274"/>
            <a:ext cx="2072724" cy="2763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48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0759" y="443185"/>
            <a:ext cx="10515600" cy="653777"/>
          </a:xfrm>
        </p:spPr>
        <p:txBody>
          <a:bodyPr>
            <a:normAutofit/>
          </a:bodyPr>
          <a:lstStyle/>
          <a:p>
            <a:r>
              <a:rPr lang="es-DO" sz="3600">
                <a:solidFill>
                  <a:srgbClr val="C00000"/>
                </a:solidFill>
              </a:rPr>
              <a:t>Consideraciones del Diseño</a:t>
            </a:r>
            <a:endParaRPr lang="es-ES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8</a:t>
            </a:fld>
            <a:endParaRPr lang="en-US"/>
          </a:p>
        </p:txBody>
      </p:sp>
      <p:cxnSp>
        <p:nvCxnSpPr>
          <p:cNvPr id="6" name="Conector recto 5"/>
          <p:cNvCxnSpPr/>
          <p:nvPr/>
        </p:nvCxnSpPr>
        <p:spPr>
          <a:xfrm>
            <a:off x="1441064" y="5951082"/>
            <a:ext cx="0" cy="396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/>
          <p:cNvSpPr txBox="1"/>
          <p:nvPr/>
        </p:nvSpPr>
        <p:spPr>
          <a:xfrm>
            <a:off x="1486879" y="5895476"/>
            <a:ext cx="15672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>
                <a:solidFill>
                  <a:schemeClr val="accent1"/>
                </a:solidFill>
              </a:rPr>
              <a:t>Ingenierías - INTEC</a:t>
            </a:r>
            <a:r>
              <a:rPr lang="es-ES" sz="1400" b="1">
                <a:solidFill>
                  <a:schemeClr val="bg2">
                    <a:lumMod val="50000"/>
                  </a:schemeClr>
                </a:solidFill>
              </a:rPr>
              <a:t> 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60" y="5511514"/>
            <a:ext cx="1034880" cy="103488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09DA0A5-72C7-4631-BA90-5EBEAFE7EE2E}"/>
              </a:ext>
            </a:extLst>
          </p:cNvPr>
          <p:cNvSpPr txBox="1"/>
          <p:nvPr/>
        </p:nvSpPr>
        <p:spPr>
          <a:xfrm>
            <a:off x="1260073" y="1511060"/>
            <a:ext cx="8636971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just">
              <a:defRPr sz="2800"/>
            </a:lvl1pPr>
          </a:lstStyle>
          <a:p>
            <a:endParaRPr lang="es-DO" sz="24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DO" sz="2400"/>
              <a:t>Tamaño de piezas reducido a 60mm x 60mm x 60mm</a:t>
            </a:r>
          </a:p>
          <a:p>
            <a:endParaRPr lang="es-DO" sz="24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DO" sz="2400"/>
              <a:t>Utilizar solo el conveyor rotacion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DO" sz="240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DO" sz="240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DO" sz="2400"/>
          </a:p>
        </p:txBody>
      </p:sp>
    </p:spTree>
    <p:extLst>
      <p:ext uri="{BB962C8B-B14F-4D97-AF65-F5344CB8AC3E}">
        <p14:creationId xmlns:p14="http://schemas.microsoft.com/office/powerpoint/2010/main" val="1226279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89F21-BEF2-46AD-89F3-44E6BA47BFE1}" type="slidenum">
              <a:rPr lang="en-US" smtClean="0"/>
              <a:t>9</a:t>
            </a:fld>
            <a:endParaRPr lang="en-US"/>
          </a:p>
        </p:txBody>
      </p:sp>
      <p:cxnSp>
        <p:nvCxnSpPr>
          <p:cNvPr id="6" name="Conector recto 5"/>
          <p:cNvCxnSpPr/>
          <p:nvPr/>
        </p:nvCxnSpPr>
        <p:spPr>
          <a:xfrm>
            <a:off x="1441064" y="5951082"/>
            <a:ext cx="0" cy="396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/>
          <p:cNvSpPr txBox="1"/>
          <p:nvPr/>
        </p:nvSpPr>
        <p:spPr>
          <a:xfrm>
            <a:off x="1486879" y="5895476"/>
            <a:ext cx="15672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>
                <a:solidFill>
                  <a:schemeClr val="accent1"/>
                </a:solidFill>
              </a:rPr>
              <a:t>Ingenierías - INTEC</a:t>
            </a:r>
            <a:r>
              <a:rPr lang="es-ES" sz="1400" b="1">
                <a:solidFill>
                  <a:schemeClr val="bg2">
                    <a:lumMod val="50000"/>
                  </a:schemeClr>
                </a:solidFill>
              </a:rPr>
              <a:t> 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60" y="5511514"/>
            <a:ext cx="1034880" cy="1034880"/>
          </a:xfrm>
          <a:prstGeom prst="rect">
            <a:avLst/>
          </a:prstGeom>
        </p:spPr>
      </p:pic>
      <p:sp>
        <p:nvSpPr>
          <p:cNvPr id="14" name="Título 1">
            <a:extLst>
              <a:ext uri="{FF2B5EF4-FFF2-40B4-BE49-F238E27FC236}">
                <a16:creationId xmlns:a16="http://schemas.microsoft.com/office/drawing/2014/main" id="{EF2B42E0-4C64-4C52-BF0F-F46D23499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560" y="439304"/>
            <a:ext cx="10515600" cy="653777"/>
          </a:xfrm>
        </p:spPr>
        <p:txBody>
          <a:bodyPr>
            <a:normAutofit/>
          </a:bodyPr>
          <a:lstStyle/>
          <a:p>
            <a:r>
              <a:rPr lang="es-DO" sz="3600">
                <a:solidFill>
                  <a:srgbClr val="C00000"/>
                </a:solidFill>
              </a:rPr>
              <a:t>WBS</a:t>
            </a:r>
            <a:endParaRPr lang="es-ES"/>
          </a:p>
        </p:txBody>
      </p:sp>
      <p:pic>
        <p:nvPicPr>
          <p:cNvPr id="3075" name="Picture 3">
            <a:extLst>
              <a:ext uri="{FF2B5EF4-FFF2-40B4-BE49-F238E27FC236}">
                <a16:creationId xmlns:a16="http://schemas.microsoft.com/office/drawing/2014/main" id="{1C635386-D39B-775E-C141-7165A0645F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5241" y="501650"/>
            <a:ext cx="7951542" cy="5962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649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0crTSOck.bxGvEczRR_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8G1l4ZeUu..V48lC4VR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gEZYdzV7EaSn77HLrdJ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EcP5SpuhrUmkZplUhN7P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IA2F6zqXE2nqCbNjyAr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gqUYDeO80iDfW_IyJj4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gEZYdzV7EaSn77HLrdJ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IA2F6zqXE2nqCbNjyAr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gqUYDeO80iDfW_IyJj4E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zFupAC50GPmD9yQjqz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zFupAC50GPmD9yQjqz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_Oh.eXNRkK2FhGzuFx7K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7dgO634EqYePUmbQPmt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kE39RAMEKwjRGIiBFo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HrpmlYr0OL7aE_3nczj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Ge3.Ox1kWFnfja77MVT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CW_x8tfUScTnwuzt6M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ttZODTPUqwpvYzUF1R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q8lUr0M0iWQ2FJlWTx.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PSYhyU6ECVGYhFHd.g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8yUoWNakyL7mXMOk22k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N9YZNT7k.i1XquOgjC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nRefKe30KK7rVll2PJf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bFo3qESkW6_BbdxI1gG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mhyviE4U2xzzhJZiuy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16f1wTG0.F5kHinyKt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tJOqUK8EOzI1yDyChP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Pz5U0eIEa0LvTQ_cAu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ZR4g6ywkucrQOUHDyV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BxOVJkikOu51xUgndvd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PSYhyU6ECVGYhFHd.g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BxOVJkikOu51xUgndv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9owvX8P0Wn5U.jhatqD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tJOqUK8EOzI1yDyChPx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7dgO634EqYePUmbQPm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7dgO634EqYePUmbQPmt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7dgO634EqYePUmbQPmt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7dgO634EqYePUmbQPmt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i_acGodECGtuCwhCYFH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stUoGQ2EWfwqwh6_B2z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q8lUr0M0iWQ2FJlWTx.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PSYhyU6ECVGYhFHd.gv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FuSgdSaEWbbOEmsOqlQ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gqUYDeO80iDfW_IyJj4E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q8lUr0M0iWQ2FJlWTx.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q8lUr0M0iWQ2FJlWTx.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q8lUr0M0iWQ2FJlWTx.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q8lUr0M0iWQ2FJlWTx.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i_acGodECGtuCwhCYF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1VjYi2GAWUGLF.UupTlz2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i_acGodECGtuCwhCYFH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i_acGodECGtuCwhCYFH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i_acGodECGtuCwhCYFH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i_acGodECGtuCwhCYFH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i_acGodECGtuCwhCYFH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i_acGodECGtuCwhCYFH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i_acGodECGtuCwhCYFH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tJOqUK8EOzI1yDyChP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oHi3BHMSHEqNcyUdiTHZ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HRgcPx80KIUgc_sqYT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zFupAC50GPmD9yQjqzWQ"/>
</p:tagLst>
</file>

<file path=ppt/theme/theme1.xml><?xml version="1.0" encoding="utf-8"?>
<a:theme xmlns:a="http://schemas.openxmlformats.org/drawingml/2006/main" name="Office Theme">
  <a:themeElements>
    <a:clrScheme name="INTEC - MARCA">
      <a:dk1>
        <a:sysClr val="windowText" lastClr="000000"/>
      </a:dk1>
      <a:lt1>
        <a:sysClr val="window" lastClr="FFFFFF"/>
      </a:lt1>
      <a:dk2>
        <a:srgbClr val="636569"/>
      </a:dk2>
      <a:lt2>
        <a:srgbClr val="E5E6E6"/>
      </a:lt2>
      <a:accent1>
        <a:srgbClr val="DF1A22"/>
      </a:accent1>
      <a:accent2>
        <a:srgbClr val="920609"/>
      </a:accent2>
      <a:accent3>
        <a:srgbClr val="E86C4F"/>
      </a:accent3>
      <a:accent4>
        <a:srgbClr val="B35153"/>
      </a:accent4>
      <a:accent5>
        <a:srgbClr val="EE9175"/>
      </a:accent5>
      <a:accent6>
        <a:srgbClr val="C88283"/>
      </a:accent6>
      <a:hlink>
        <a:srgbClr val="DF1A22"/>
      </a:hlink>
      <a:folHlink>
        <a:srgbClr val="E86C4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ba27a60-60cb-4a72-b90f-f5d409861020" xsi:nil="true"/>
    <lcf76f155ced4ddcb4097134ff3c332f xmlns="d2d44c6b-a779-44e8-94a1-1838f6e2d963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6ACFB165BF3E4CBFB17C67951A5EF0" ma:contentTypeVersion="15" ma:contentTypeDescription="Crear nuevo documento." ma:contentTypeScope="" ma:versionID="2f5bbac58411b9091ae23cd1d0770edf">
  <xsd:schema xmlns:xsd="http://www.w3.org/2001/XMLSchema" xmlns:xs="http://www.w3.org/2001/XMLSchema" xmlns:p="http://schemas.microsoft.com/office/2006/metadata/properties" xmlns:ns2="d2d44c6b-a779-44e8-94a1-1838f6e2d963" xmlns:ns3="6ba27a60-60cb-4a72-b90f-f5d409861020" targetNamespace="http://schemas.microsoft.com/office/2006/metadata/properties" ma:root="true" ma:fieldsID="412e2e39b092e60e90047e1100065911" ns2:_="" ns3:_="">
    <xsd:import namespace="d2d44c6b-a779-44e8-94a1-1838f6e2d963"/>
    <xsd:import namespace="6ba27a60-60cb-4a72-b90f-f5d40986102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d44c6b-a779-44e8-94a1-1838f6e2d9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Etiquetas de imagen" ma:readOnly="false" ma:fieldId="{5cf76f15-5ced-4ddc-b409-7134ff3c332f}" ma:taxonomyMulti="true" ma:sspId="6241388b-7a6c-4269-8661-86f0eeab2c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27a60-60cb-4a72-b90f-f5d409861020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1e9b3a9d-dbc6-4dd2-9057-9afb811ef99f}" ma:internalName="TaxCatchAll" ma:showField="CatchAllData" ma:web="6ba27a60-60cb-4a72-b90f-f5d40986102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A38B2D8-BEC7-468A-A07D-8474A5001F9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441A733-6020-452E-9041-C564B2253A0C}">
  <ds:schemaRefs>
    <ds:schemaRef ds:uri="6ba27a60-60cb-4a72-b90f-f5d409861020"/>
    <ds:schemaRef ds:uri="d2d44c6b-a779-44e8-94a1-1838f6e2d96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7FF62D2-2805-4D6C-8243-1F7C23070CEE}"/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775</Words>
  <Application>Microsoft Office PowerPoint</Application>
  <PresentationFormat>Widescreen</PresentationFormat>
  <Paragraphs>169</Paragraphs>
  <Slides>16</Slides>
  <Notes>3</Notes>
  <HiddenSlides>1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Links</vt:lpstr>
      </vt:variant>
      <vt:variant>
        <vt:i4>2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Calibri</vt:lpstr>
      <vt:lpstr>Century Gothic</vt:lpstr>
      <vt:lpstr>Wingdings</vt:lpstr>
      <vt:lpstr>Office Theme</vt:lpstr>
      <vt:lpstr>https://estintecedu-my.sharepoint.com/personal/1092136_est_intec_edu_do/Documents/INTEC/Trimestre%2016/Proyecto%20Mecatronico%20II/Documentación/SA%20-%20Bill%20of%20materialls.xlsx!Sheet1!R1C2:R19C8</vt:lpstr>
      <vt:lpstr>https://estintecedu-my.sharepoint.com/personal/1092136_est_intec_edu_do/Documents/INTEC/Trimestre%2016/Proyecto%20Mecatronico%20II/Documentación/SA%20-%20Bill%20of%20materialls.xlsx!Hoja%201!R3C3:R35C12</vt:lpstr>
      <vt:lpstr>PowerPoint Presentation</vt:lpstr>
      <vt:lpstr>SITUACIÓN PROBLEMÁTICA</vt:lpstr>
      <vt:lpstr>SITUACIÓN PROBLEMÁTICA</vt:lpstr>
      <vt:lpstr>ESTADO DEL ARTE</vt:lpstr>
      <vt:lpstr>OBJETIVO GENERAL</vt:lpstr>
      <vt:lpstr>MATRIZ IMC DE PROTOTIPO</vt:lpstr>
      <vt:lpstr>Modelo escalado</vt:lpstr>
      <vt:lpstr>Consideraciones del Diseño</vt:lpstr>
      <vt:lpstr>WBS</vt:lpstr>
      <vt:lpstr>Calendarización</vt:lpstr>
      <vt:lpstr>Matriz de Riesgo</vt:lpstr>
      <vt:lpstr>Presupuesto</vt:lpstr>
      <vt:lpstr>REPORTE DE AVANCE DE PROYECTO</vt:lpstr>
      <vt:lpstr>Lo que tenemos</vt:lpstr>
      <vt:lpstr>Gasto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smeling Frances</dc:creator>
  <cp:lastModifiedBy>[Est - IMC] Canas Fernandez, Ian Gabriel</cp:lastModifiedBy>
  <cp:revision>1</cp:revision>
  <dcterms:created xsi:type="dcterms:W3CDTF">2020-05-27T23:44:09Z</dcterms:created>
  <dcterms:modified xsi:type="dcterms:W3CDTF">2023-05-11T20:25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6ACFB165BF3E4CBFB17C67951A5EF0</vt:lpwstr>
  </property>
</Properties>
</file>